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1"/>
    <p:sldMasterId id="2147483824" r:id="rId2"/>
    <p:sldMasterId id="2147483827" r:id="rId3"/>
  </p:sldMasterIdLst>
  <p:notesMasterIdLst>
    <p:notesMasterId r:id="rId35"/>
  </p:notesMasterIdLst>
  <p:sldIdLst>
    <p:sldId id="257" r:id="rId4"/>
    <p:sldId id="4411" r:id="rId5"/>
    <p:sldId id="4413" r:id="rId6"/>
    <p:sldId id="4414" r:id="rId7"/>
    <p:sldId id="329" r:id="rId8"/>
    <p:sldId id="331" r:id="rId9"/>
    <p:sldId id="335" r:id="rId10"/>
    <p:sldId id="2147482705" r:id="rId11"/>
    <p:sldId id="2147482707" r:id="rId12"/>
    <p:sldId id="2147475333" r:id="rId13"/>
    <p:sldId id="2147470850" r:id="rId14"/>
    <p:sldId id="2147481914" r:id="rId15"/>
    <p:sldId id="393" r:id="rId16"/>
    <p:sldId id="396" r:id="rId17"/>
    <p:sldId id="397" r:id="rId18"/>
    <p:sldId id="260" r:id="rId19"/>
    <p:sldId id="2147482219" r:id="rId20"/>
    <p:sldId id="262" r:id="rId21"/>
    <p:sldId id="400" r:id="rId22"/>
    <p:sldId id="407" r:id="rId23"/>
    <p:sldId id="411" r:id="rId24"/>
    <p:sldId id="256" r:id="rId25"/>
    <p:sldId id="414" r:id="rId26"/>
    <p:sldId id="423" r:id="rId27"/>
    <p:sldId id="428" r:id="rId28"/>
    <p:sldId id="2147483644" r:id="rId29"/>
    <p:sldId id="2147483645" r:id="rId30"/>
    <p:sldId id="432" r:id="rId31"/>
    <p:sldId id="2147483647" r:id="rId32"/>
    <p:sldId id="2147481917" r:id="rId33"/>
    <p:sldId id="274" r:id="rId3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EA01C"/>
    <a:srgbClr val="004A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620"/>
    <p:restoredTop sz="96247" autoAdjust="0"/>
  </p:normalViewPr>
  <p:slideViewPr>
    <p:cSldViewPr snapToGrid="0">
      <p:cViewPr varScale="1">
        <p:scale>
          <a:sx n="107" d="100"/>
          <a:sy n="107" d="100"/>
        </p:scale>
        <p:origin x="636" y="102"/>
      </p:cViewPr>
      <p:guideLst/>
    </p:cSldViewPr>
  </p:slideViewPr>
  <p:notesTextViewPr>
    <p:cViewPr>
      <p:scale>
        <a:sx n="1" d="1"/>
        <a:sy n="1" d="1"/>
      </p:scale>
      <p:origin x="0" y="0"/>
    </p:cViewPr>
  </p:notesTextViewPr>
  <p:sorterViewPr>
    <p:cViewPr>
      <p:scale>
        <a:sx n="103" d="100"/>
        <a:sy n="103" d="100"/>
      </p:scale>
      <p:origin x="0" y="-517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3E152A-E7A3-49FF-8B62-D6BE7C3C47E3}" type="datetimeFigureOut">
              <a:rPr lang="de-DE" smtClean="0"/>
              <a:t>23.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A068EB-3DA3-4FFF-9DBB-C63EA3757A24}" type="slidenum">
              <a:rPr lang="de-DE" smtClean="0"/>
              <a:t>‹Nr.›</a:t>
            </a:fld>
            <a:endParaRPr lang="de-DE"/>
          </a:p>
        </p:txBody>
      </p:sp>
    </p:spTree>
    <p:extLst>
      <p:ext uri="{BB962C8B-B14F-4D97-AF65-F5344CB8AC3E}">
        <p14:creationId xmlns:p14="http://schemas.microsoft.com/office/powerpoint/2010/main" val="3232014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A4F46E9-7904-4FD8-82D0-66E6EAD9EF88}" type="slidenum">
              <a:rPr lang="de-DE" smtClean="0"/>
              <a:t>1</a:t>
            </a:fld>
            <a:endParaRPr lang="de-DE"/>
          </a:p>
        </p:txBody>
      </p:sp>
    </p:spTree>
    <p:extLst>
      <p:ext uri="{BB962C8B-B14F-4D97-AF65-F5344CB8AC3E}">
        <p14:creationId xmlns:p14="http://schemas.microsoft.com/office/powerpoint/2010/main" val="355034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F46E9-7904-4FD8-82D0-66E6EAD9EF88}"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1758979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a:extLst>
            <a:ext uri="{FF2B5EF4-FFF2-40B4-BE49-F238E27FC236}">
              <a16:creationId xmlns:a16="http://schemas.microsoft.com/office/drawing/2014/main" id="{B37958EF-7B19-DE30-C74F-F9BAE238B21A}"/>
            </a:ext>
          </a:extLst>
        </p:cNvPr>
        <p:cNvGrpSpPr/>
        <p:nvPr/>
      </p:nvGrpSpPr>
      <p:grpSpPr>
        <a:xfrm>
          <a:off x="0" y="0"/>
          <a:ext cx="0" cy="0"/>
          <a:chOff x="0" y="0"/>
          <a:chExt cx="0" cy="0"/>
        </a:xfrm>
      </p:grpSpPr>
      <p:sp>
        <p:nvSpPr>
          <p:cNvPr id="1584" name="Google Shape;1584;g2a57c4556f4_3_31:notes">
            <a:extLst>
              <a:ext uri="{FF2B5EF4-FFF2-40B4-BE49-F238E27FC236}">
                <a16:creationId xmlns:a16="http://schemas.microsoft.com/office/drawing/2014/main" id="{41C4F9F8-EF2D-CF00-5916-638CC813202E}"/>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5" name="Google Shape;1585;g2a57c4556f4_3_31:notes">
            <a:extLst>
              <a:ext uri="{FF2B5EF4-FFF2-40B4-BE49-F238E27FC236}">
                <a16:creationId xmlns:a16="http://schemas.microsoft.com/office/drawing/2014/main" id="{C1CC0F3E-5E78-2B87-EFA0-C58C77B6051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95762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0"/>
        <p:cNvGrpSpPr/>
        <p:nvPr/>
      </p:nvGrpSpPr>
      <p:grpSpPr>
        <a:xfrm>
          <a:off x="0" y="0"/>
          <a:ext cx="0" cy="0"/>
          <a:chOff x="0" y="0"/>
          <a:chExt cx="0" cy="0"/>
        </a:xfrm>
      </p:grpSpPr>
      <p:sp>
        <p:nvSpPr>
          <p:cNvPr id="1651" name="Google Shape;1651;g2a7f0bc11f4_0_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52" name="Google Shape;1652;g2a7f0bc11f4_0_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50168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8"/>
        <p:cNvGrpSpPr/>
        <p:nvPr/>
      </p:nvGrpSpPr>
      <p:grpSpPr>
        <a:xfrm>
          <a:off x="0" y="0"/>
          <a:ext cx="0" cy="0"/>
          <a:chOff x="0" y="0"/>
          <a:chExt cx="0" cy="0"/>
        </a:xfrm>
      </p:grpSpPr>
      <p:sp>
        <p:nvSpPr>
          <p:cNvPr id="1799" name="Google Shape;1799;g2a7f0bc11f4_0_1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00" name="Google Shape;1800;g2a7f0bc11f4_0_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74686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1"/>
        <p:cNvGrpSpPr/>
        <p:nvPr/>
      </p:nvGrpSpPr>
      <p:grpSpPr>
        <a:xfrm>
          <a:off x="0" y="0"/>
          <a:ext cx="0" cy="0"/>
          <a:chOff x="0" y="0"/>
          <a:chExt cx="0" cy="0"/>
        </a:xfrm>
      </p:grpSpPr>
      <p:sp>
        <p:nvSpPr>
          <p:cNvPr id="1862" name="Google Shape;1862;g2a57c4556f4_3_17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63" name="Google Shape;1863;g2a57c4556f4_3_1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85071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1">
          <a:extLst>
            <a:ext uri="{FF2B5EF4-FFF2-40B4-BE49-F238E27FC236}">
              <a16:creationId xmlns:a16="http://schemas.microsoft.com/office/drawing/2014/main" id="{0FB2EBCE-B0AC-9325-6B20-F15CC1529CA4}"/>
            </a:ext>
          </a:extLst>
        </p:cNvPr>
        <p:cNvGrpSpPr/>
        <p:nvPr/>
      </p:nvGrpSpPr>
      <p:grpSpPr>
        <a:xfrm>
          <a:off x="0" y="0"/>
          <a:ext cx="0" cy="0"/>
          <a:chOff x="0" y="0"/>
          <a:chExt cx="0" cy="0"/>
        </a:xfrm>
      </p:grpSpPr>
      <p:sp>
        <p:nvSpPr>
          <p:cNvPr id="1862" name="Google Shape;1862;g2a57c4556f4_3_173:notes">
            <a:extLst>
              <a:ext uri="{FF2B5EF4-FFF2-40B4-BE49-F238E27FC236}">
                <a16:creationId xmlns:a16="http://schemas.microsoft.com/office/drawing/2014/main" id="{257C670E-A7EA-8149-1445-AE7E6B5EED8B}"/>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63" name="Google Shape;1863;g2a57c4556f4_3_173:notes">
            <a:extLst>
              <a:ext uri="{FF2B5EF4-FFF2-40B4-BE49-F238E27FC236}">
                <a16:creationId xmlns:a16="http://schemas.microsoft.com/office/drawing/2014/main" id="{24680402-4A43-7B6E-15DC-EC983143EFE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37710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9"/>
        <p:cNvGrpSpPr/>
        <p:nvPr/>
      </p:nvGrpSpPr>
      <p:grpSpPr>
        <a:xfrm>
          <a:off x="0" y="0"/>
          <a:ext cx="0" cy="0"/>
          <a:chOff x="0" y="0"/>
          <a:chExt cx="0" cy="0"/>
        </a:xfrm>
      </p:grpSpPr>
      <p:sp>
        <p:nvSpPr>
          <p:cNvPr id="1930" name="Google Shape;1930;g2a7f0bc11f4_0_3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31" name="Google Shape;1931;g2a7f0bc11f4_0_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601449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3"/>
        <p:cNvGrpSpPr/>
        <p:nvPr/>
      </p:nvGrpSpPr>
      <p:grpSpPr>
        <a:xfrm>
          <a:off x="0" y="0"/>
          <a:ext cx="0" cy="0"/>
          <a:chOff x="0" y="0"/>
          <a:chExt cx="0" cy="0"/>
        </a:xfrm>
      </p:grpSpPr>
      <p:sp>
        <p:nvSpPr>
          <p:cNvPr id="2114" name="Google Shape;2114;g2a7f0bc11f4_0_2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15" name="Google Shape;2115;g2a7f0bc11f4_0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73312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9"/>
        <p:cNvGrpSpPr/>
        <p:nvPr/>
      </p:nvGrpSpPr>
      <p:grpSpPr>
        <a:xfrm>
          <a:off x="0" y="0"/>
          <a:ext cx="0" cy="0"/>
          <a:chOff x="0" y="0"/>
          <a:chExt cx="0" cy="0"/>
        </a:xfrm>
      </p:grpSpPr>
      <p:sp>
        <p:nvSpPr>
          <p:cNvPr id="2200" name="Google Shape;2200;g28c66a67f99_0_338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01" name="Google Shape;2201;g28c66a67f99_0_33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78327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9">
          <a:extLst>
            <a:ext uri="{FF2B5EF4-FFF2-40B4-BE49-F238E27FC236}">
              <a16:creationId xmlns:a16="http://schemas.microsoft.com/office/drawing/2014/main" id="{203A7147-406E-60D9-5D6C-68E2D9690025}"/>
            </a:ext>
          </a:extLst>
        </p:cNvPr>
        <p:cNvGrpSpPr/>
        <p:nvPr/>
      </p:nvGrpSpPr>
      <p:grpSpPr>
        <a:xfrm>
          <a:off x="0" y="0"/>
          <a:ext cx="0" cy="0"/>
          <a:chOff x="0" y="0"/>
          <a:chExt cx="0" cy="0"/>
        </a:xfrm>
      </p:grpSpPr>
      <p:sp>
        <p:nvSpPr>
          <p:cNvPr id="2200" name="Google Shape;2200;g28c66a67f99_0_3382:notes">
            <a:extLst>
              <a:ext uri="{FF2B5EF4-FFF2-40B4-BE49-F238E27FC236}">
                <a16:creationId xmlns:a16="http://schemas.microsoft.com/office/drawing/2014/main" id="{51DA121E-A840-F975-2E44-55383348A1FB}"/>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01" name="Google Shape;2201;g28c66a67f99_0_3382:notes">
            <a:extLst>
              <a:ext uri="{FF2B5EF4-FFF2-40B4-BE49-F238E27FC236}">
                <a16:creationId xmlns:a16="http://schemas.microsoft.com/office/drawing/2014/main" id="{AA876CDC-3E22-F634-CFE6-4080034E39B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86041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AAF7B-6562-CF87-E8F9-4F43B104D83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D59EE37-EC5A-9CDF-B81E-47BFE8C80A5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234BBD0-D863-39BA-2CBB-F0A99D705051}"/>
              </a:ext>
            </a:extLst>
          </p:cNvPr>
          <p:cNvSpPr>
            <a:spLocks noGrp="1"/>
          </p:cNvSpPr>
          <p:nvPr>
            <p:ph type="body" idx="1"/>
          </p:nvPr>
        </p:nvSpPr>
        <p:spPr/>
        <p:txBody>
          <a:bodyPr/>
          <a:lstStyle/>
          <a:p>
            <a:pPr marL="171435" marR="0" lvl="0" indent="-17143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1" i="0" u="none" strike="noStrike" kern="1200" cap="none" spc="0" normalizeH="0" baseline="0" noProof="0" dirty="0">
              <a:ln>
                <a:noFill/>
              </a:ln>
              <a:solidFill>
                <a:srgbClr val="FFFFFF"/>
              </a:solidFill>
              <a:effectLst/>
              <a:uLnTx/>
              <a:uFillTx/>
              <a:latin typeface="Roboto" panose="02000000000000000000" pitchFamily="2" charset="0"/>
              <a:cs typeface="Arial"/>
            </a:endParaRPr>
          </a:p>
          <a:p>
            <a:pPr marL="171435" indent="-171435">
              <a:buFont typeface="Arial" panose="020B0604020202020204" pitchFamily="34" charset="0"/>
              <a:buChar char="•"/>
            </a:pPr>
            <a:endParaRPr lang="en-US" dirty="0"/>
          </a:p>
        </p:txBody>
      </p:sp>
      <p:sp>
        <p:nvSpPr>
          <p:cNvPr id="4" name="Fußzeilenplatzhalter 3">
            <a:extLst>
              <a:ext uri="{FF2B5EF4-FFF2-40B4-BE49-F238E27FC236}">
                <a16:creationId xmlns:a16="http://schemas.microsoft.com/office/drawing/2014/main" id="{30A4AFFF-9B80-61D7-F576-B3C50547C3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a:ea typeface="+mn-ea"/>
                <a:cs typeface="+mn-cs"/>
              </a:rPr>
              <a:t>STRENG VERTRAULICH</a:t>
            </a:r>
          </a:p>
        </p:txBody>
      </p:sp>
      <p:sp>
        <p:nvSpPr>
          <p:cNvPr id="5" name="Foliennummernplatzhalter 4">
            <a:extLst>
              <a:ext uri="{FF2B5EF4-FFF2-40B4-BE49-F238E27FC236}">
                <a16:creationId xmlns:a16="http://schemas.microsoft.com/office/drawing/2014/main" id="{747F2B8F-2E95-A6B9-4E01-38A31AF5452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E21755-9DDF-42C1-8576-A78EDD6C3A9C}" type="slidenum">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830911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021A7-07C4-8A07-DC8A-5FBA9AA669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E654D8-0A49-1E6F-2042-EBE9BC0E66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3F051DC-64D0-0479-6960-C57A617589EB}"/>
              </a:ext>
            </a:extLst>
          </p:cNvPr>
          <p:cNvSpPr>
            <a:spLocks noGrp="1"/>
          </p:cNvSpPr>
          <p:nvPr>
            <p:ph type="body" idx="1"/>
          </p:nvPr>
        </p:nvSpPr>
        <p:spPr/>
        <p:txBody>
          <a:bodyPr/>
          <a:lstStyle/>
          <a:p>
            <a:endParaRPr lang="en-GB"/>
          </a:p>
        </p:txBody>
      </p:sp>
      <p:sp>
        <p:nvSpPr>
          <p:cNvPr id="4" name="Foliennummernplatzhalter 3">
            <a:extLst>
              <a:ext uri="{FF2B5EF4-FFF2-40B4-BE49-F238E27FC236}">
                <a16:creationId xmlns:a16="http://schemas.microsoft.com/office/drawing/2014/main" id="{CBF13D94-D027-27BD-4D4E-8ABBEB6A57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195FE-AD65-4F49-BE2F-2FBE14612650}" type="slidenum">
              <a:rPr kumimoji="0" lang="en-GB" sz="1200" b="0" i="0" u="none" strike="noStrike" kern="1200" cap="none" spc="0" normalizeH="0" baseline="0" noProof="0" smtClean="0">
                <a:ln>
                  <a:noFill/>
                </a:ln>
                <a:solidFill>
                  <a:prstClr val="black"/>
                </a:solidFill>
                <a:effectLst/>
                <a:uLnTx/>
                <a:uFillTx/>
                <a:latin typeface="DM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DM Sans" pitchFamily="2" charset="77"/>
              <a:ea typeface="+mn-ea"/>
              <a:cs typeface="+mn-cs"/>
            </a:endParaRPr>
          </a:p>
        </p:txBody>
      </p:sp>
    </p:spTree>
    <p:extLst>
      <p:ext uri="{BB962C8B-B14F-4D97-AF65-F5344CB8AC3E}">
        <p14:creationId xmlns:p14="http://schemas.microsoft.com/office/powerpoint/2010/main" val="40001027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g2a7f0bc11f4_0_4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86" name="Google Shape;2286;g2a7f0bc11f4_0_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3186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0">
          <a:extLst>
            <a:ext uri="{FF2B5EF4-FFF2-40B4-BE49-F238E27FC236}">
              <a16:creationId xmlns:a16="http://schemas.microsoft.com/office/drawing/2014/main" id="{FDEAAB78-2763-3D0B-4974-500FBD849000}"/>
            </a:ext>
          </a:extLst>
        </p:cNvPr>
        <p:cNvGrpSpPr/>
        <p:nvPr/>
      </p:nvGrpSpPr>
      <p:grpSpPr>
        <a:xfrm>
          <a:off x="0" y="0"/>
          <a:ext cx="0" cy="0"/>
          <a:chOff x="0" y="0"/>
          <a:chExt cx="0" cy="0"/>
        </a:xfrm>
      </p:grpSpPr>
      <p:sp>
        <p:nvSpPr>
          <p:cNvPr id="2351" name="Google Shape;2351;g28c66a67f99_0_3536:notes">
            <a:extLst>
              <a:ext uri="{FF2B5EF4-FFF2-40B4-BE49-F238E27FC236}">
                <a16:creationId xmlns:a16="http://schemas.microsoft.com/office/drawing/2014/main" id="{9E010D53-E588-2222-426E-4A1C7A8B909A}"/>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52" name="Google Shape;2352;g28c66a67f99_0_3536:notes">
            <a:extLst>
              <a:ext uri="{FF2B5EF4-FFF2-40B4-BE49-F238E27FC236}">
                <a16:creationId xmlns:a16="http://schemas.microsoft.com/office/drawing/2014/main" id="{F332A2C8-4A10-E480-8885-80B8DFC8947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97288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1">
              <a:lnSpc>
                <a:spcPct val="95000"/>
              </a:lnSpc>
              <a:spcBef>
                <a:spcPts val="600"/>
              </a:spcBef>
            </a:pPr>
            <a:endParaRPr lang="de-DE" dirty="0">
              <a:ea typeface="Calibri"/>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F46E9-7904-4FD8-82D0-66E6EAD9EF8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266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Opening Event &amp; Keynote Speech</a:t>
            </a:r>
          </a:p>
        </p:txBody>
      </p:sp>
      <p:sp>
        <p:nvSpPr>
          <p:cNvPr id="4" name="Foliennummernplatzhalter 3"/>
          <p:cNvSpPr>
            <a:spLocks noGrp="1"/>
          </p:cNvSpPr>
          <p:nvPr>
            <p:ph type="sldNum" sz="quarter" idx="5"/>
          </p:nvPr>
        </p:nvSpPr>
        <p:spPr/>
        <p:txBody>
          <a:bodyPr/>
          <a:lstStyle/>
          <a:p>
            <a:fld id="{4CA068EB-3DA3-4FFF-9DBB-C63EA3757A24}" type="slidenum">
              <a:rPr lang="de-DE" smtClean="0"/>
              <a:t>11</a:t>
            </a:fld>
            <a:endParaRPr lang="de-DE"/>
          </a:p>
        </p:txBody>
      </p:sp>
    </p:spTree>
    <p:extLst>
      <p:ext uri="{BB962C8B-B14F-4D97-AF65-F5344CB8AC3E}">
        <p14:creationId xmlns:p14="http://schemas.microsoft.com/office/powerpoint/2010/main" val="1039493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a:latin typeface="Roboto" panose="02000000000000000000" pitchFamily="2" charset="0"/>
              </a:rPr>
              <a:t>1. Empowerment</a:t>
            </a:r>
          </a:p>
          <a:p>
            <a:pPr lvl="1"/>
            <a:r>
              <a:rPr lang="en-US">
                <a:latin typeface="Roboto" panose="02000000000000000000" pitchFamily="2" charset="0"/>
              </a:rPr>
              <a:t>Motivate to engage in sustainability &amp; digitalization</a:t>
            </a:r>
          </a:p>
          <a:p>
            <a:pPr lvl="1"/>
            <a:r>
              <a:rPr lang="en-US">
                <a:latin typeface="Roboto" panose="02000000000000000000" pitchFamily="2" charset="0"/>
                <a:sym typeface="Wingdings" panose="05000000000000000000" pitchFamily="2" charset="2"/>
              </a:rPr>
              <a:t>Showcase individual contributions</a:t>
            </a:r>
          </a:p>
          <a:p>
            <a:r>
              <a:rPr lang="en-US" b="1">
                <a:latin typeface="Roboto" panose="02000000000000000000" pitchFamily="2" charset="0"/>
                <a:sym typeface="Wingdings" panose="05000000000000000000" pitchFamily="2" charset="2"/>
              </a:rPr>
              <a:t>2. Strategic Foresight</a:t>
            </a:r>
            <a:endParaRPr lang="en-US" b="1">
              <a:latin typeface="Roboto" panose="02000000000000000000" pitchFamily="2" charset="0"/>
            </a:endParaRPr>
          </a:p>
          <a:p>
            <a:pPr lvl="1"/>
            <a:r>
              <a:rPr lang="en-US">
                <a:latin typeface="Roboto" panose="02000000000000000000" pitchFamily="2" charset="0"/>
              </a:rPr>
              <a:t>Check if our activities lead to a desirable future</a:t>
            </a:r>
          </a:p>
          <a:p>
            <a:pPr lvl="1"/>
            <a:r>
              <a:rPr lang="en-US">
                <a:latin typeface="Roboto" panose="02000000000000000000" pitchFamily="2" charset="0"/>
              </a:rPr>
              <a:t>Lay foundation for Innovation Scouting</a:t>
            </a:r>
          </a:p>
          <a:p>
            <a:pPr lvl="2"/>
            <a:r>
              <a:rPr lang="en-US">
                <a:latin typeface="Roboto" panose="02000000000000000000" pitchFamily="2" charset="0"/>
              </a:rPr>
              <a:t>Enrich our core businesses with sustainability &amp; digitalization</a:t>
            </a:r>
            <a:endParaRPr lang="en-US">
              <a:solidFill>
                <a:srgbClr val="FF0000"/>
              </a:solidFill>
              <a:latin typeface="Roboto" panose="02000000000000000000" pitchFamily="2" charset="0"/>
            </a:endParaRPr>
          </a:p>
          <a:p>
            <a:pPr lvl="2"/>
            <a:r>
              <a:rPr lang="en-US">
                <a:latin typeface="Roboto" panose="02000000000000000000" pitchFamily="2" charset="0"/>
              </a:rPr>
              <a:t>Identify potential growth fields outside our core business </a:t>
            </a:r>
          </a:p>
          <a:p>
            <a:pPr lvl="1"/>
            <a:r>
              <a:rPr lang="en-US">
                <a:latin typeface="Roboto" panose="02000000000000000000" pitchFamily="2" charset="0"/>
              </a:rPr>
              <a:t>Anticipate strong and disruptive changes in our core businesses (risk management)</a:t>
            </a:r>
          </a:p>
          <a:p>
            <a:r>
              <a:rPr lang="en-US" b="1">
                <a:latin typeface="Roboto" panose="02000000000000000000" pitchFamily="2" charset="0"/>
              </a:rPr>
              <a:t>3. Reputation</a:t>
            </a:r>
          </a:p>
          <a:p>
            <a:pPr lvl="1"/>
            <a:r>
              <a:rPr lang="en-US">
                <a:latin typeface="Roboto" panose="02000000000000000000" pitchFamily="2" charset="0"/>
              </a:rPr>
              <a:t>Use in strategic dialogue with customers </a:t>
            </a:r>
            <a:r>
              <a:rPr lang="en-US">
                <a:latin typeface="Roboto" panose="02000000000000000000" pitchFamily="2" charset="0"/>
                <a:sym typeface="Wingdings" panose="05000000000000000000" pitchFamily="2" charset="2"/>
              </a:rPr>
              <a:t> partner of choice for innovation</a:t>
            </a:r>
            <a:endParaRPr lang="en-US">
              <a:latin typeface="Roboto" panose="02000000000000000000" pitchFamily="2" charset="0"/>
            </a:endParaRPr>
          </a:p>
          <a:p>
            <a:pPr lvl="1"/>
            <a:r>
              <a:rPr lang="en-US">
                <a:latin typeface="Roboto" panose="02000000000000000000" pitchFamily="2" charset="0"/>
              </a:rPr>
              <a:t>Contribute to Employer Branding</a:t>
            </a:r>
          </a:p>
          <a:p>
            <a:endParaRPr lang="de-DE"/>
          </a:p>
        </p:txBody>
      </p:sp>
      <p:sp>
        <p:nvSpPr>
          <p:cNvPr id="4" name="Foliennummernplatzhalter 3"/>
          <p:cNvSpPr>
            <a:spLocks noGrp="1"/>
          </p:cNvSpPr>
          <p:nvPr>
            <p:ph type="sldNum" sz="quarter" idx="5"/>
          </p:nvPr>
        </p:nvSpPr>
        <p:spPr/>
        <p:txBody>
          <a:bodyPr/>
          <a:lstStyle/>
          <a:p>
            <a:fld id="{4CA068EB-3DA3-4FFF-9DBB-C63EA3757A24}" type="slidenum">
              <a:rPr lang="de-DE" smtClean="0"/>
              <a:t>12</a:t>
            </a:fld>
            <a:endParaRPr lang="de-DE"/>
          </a:p>
        </p:txBody>
      </p:sp>
    </p:spTree>
    <p:extLst>
      <p:ext uri="{BB962C8B-B14F-4D97-AF65-F5344CB8AC3E}">
        <p14:creationId xmlns:p14="http://schemas.microsoft.com/office/powerpoint/2010/main" val="2818362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7"/>
        <p:cNvGrpSpPr/>
        <p:nvPr/>
      </p:nvGrpSpPr>
      <p:grpSpPr>
        <a:xfrm>
          <a:off x="0" y="0"/>
          <a:ext cx="0" cy="0"/>
          <a:chOff x="0" y="0"/>
          <a:chExt cx="0" cy="0"/>
        </a:xfrm>
      </p:grpSpPr>
      <p:sp>
        <p:nvSpPr>
          <p:cNvPr id="1518" name="Google Shape;1518;g2a7f0bc11f4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19" name="Google Shape;1519;g2a7f0bc11f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97705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9"/>
        <p:cNvGrpSpPr/>
        <p:nvPr/>
      </p:nvGrpSpPr>
      <p:grpSpPr>
        <a:xfrm>
          <a:off x="0" y="0"/>
          <a:ext cx="0" cy="0"/>
          <a:chOff x="0" y="0"/>
          <a:chExt cx="0" cy="0"/>
        </a:xfrm>
      </p:grpSpPr>
      <p:sp>
        <p:nvSpPr>
          <p:cNvPr id="1570" name="Google Shape;1570;g28c66a67f99_0_261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71" name="Google Shape;1571;g28c66a67f99_0_26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45534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p:cNvGrpSpPr/>
        <p:nvPr/>
      </p:nvGrpSpPr>
      <p:grpSpPr>
        <a:xfrm>
          <a:off x="0" y="0"/>
          <a:ext cx="0" cy="0"/>
          <a:chOff x="0" y="0"/>
          <a:chExt cx="0" cy="0"/>
        </a:xfrm>
      </p:grpSpPr>
      <p:sp>
        <p:nvSpPr>
          <p:cNvPr id="1584" name="Google Shape;1584;g2a57c4556f4_3_3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5" name="Google Shape;1585;g2a57c4556f4_3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32539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a:extLst>
            <a:ext uri="{FF2B5EF4-FFF2-40B4-BE49-F238E27FC236}">
              <a16:creationId xmlns:a16="http://schemas.microsoft.com/office/drawing/2014/main" id="{877D9D57-09E1-9CF0-A74C-478B052B1510}"/>
            </a:ext>
          </a:extLst>
        </p:cNvPr>
        <p:cNvGrpSpPr/>
        <p:nvPr/>
      </p:nvGrpSpPr>
      <p:grpSpPr>
        <a:xfrm>
          <a:off x="0" y="0"/>
          <a:ext cx="0" cy="0"/>
          <a:chOff x="0" y="0"/>
          <a:chExt cx="0" cy="0"/>
        </a:xfrm>
      </p:grpSpPr>
      <p:sp>
        <p:nvSpPr>
          <p:cNvPr id="1584" name="Google Shape;1584;g2a57c4556f4_3_31:notes">
            <a:extLst>
              <a:ext uri="{FF2B5EF4-FFF2-40B4-BE49-F238E27FC236}">
                <a16:creationId xmlns:a16="http://schemas.microsoft.com/office/drawing/2014/main" id="{BEF053C0-8362-BAF9-039C-0E790E921D36}"/>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5" name="Google Shape;1585;g2a57c4556f4_3_31:notes">
            <a:extLst>
              <a:ext uri="{FF2B5EF4-FFF2-40B4-BE49-F238E27FC236}">
                <a16:creationId xmlns:a16="http://schemas.microsoft.com/office/drawing/2014/main" id="{F3A16C7D-E73D-8691-7CA8-711B3B74950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78305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7"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Nr.›</a:t>
            </a:fld>
            <a:endParaRPr lang="de-DE">
              <a:solidFill>
                <a:srgbClr val="000000"/>
              </a:solidFill>
            </a:endParaRPr>
          </a:p>
        </p:txBody>
      </p:sp>
    </p:spTree>
    <p:extLst>
      <p:ext uri="{BB962C8B-B14F-4D97-AF65-F5344CB8AC3E}">
        <p14:creationId xmlns:p14="http://schemas.microsoft.com/office/powerpoint/2010/main" val="3438277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el und zweispaltiger Text" type="twoColTx">
  <p:cSld name="Titel und zweispaltiger Text">
    <p:spTree>
      <p:nvGrpSpPr>
        <p:cNvPr id="1" name="Shape 32"/>
        <p:cNvGrpSpPr/>
        <p:nvPr/>
      </p:nvGrpSpPr>
      <p:grpSpPr>
        <a:xfrm>
          <a:off x="0" y="0"/>
          <a:ext cx="0" cy="0"/>
          <a:chOff x="0" y="0"/>
          <a:chExt cx="0" cy="0"/>
        </a:xfrm>
      </p:grpSpPr>
      <p:sp>
        <p:nvSpPr>
          <p:cNvPr id="33" name="Google Shape;33;p76"/>
          <p:cNvSpPr txBox="1">
            <a:spLocks noGrp="1"/>
          </p:cNvSpPr>
          <p:nvPr>
            <p:ph type="title"/>
          </p:nvPr>
        </p:nvSpPr>
        <p:spPr>
          <a:xfrm>
            <a:off x="219600" y="432000"/>
            <a:ext cx="11736000" cy="853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accent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76"/>
          <p:cNvSpPr txBox="1">
            <a:spLocks noGrp="1"/>
          </p:cNvSpPr>
          <p:nvPr>
            <p:ph type="body" idx="1"/>
          </p:nvPr>
        </p:nvSpPr>
        <p:spPr>
          <a:xfrm>
            <a:off x="212344" y="1965579"/>
            <a:ext cx="5800852" cy="3906012"/>
          </a:xfrm>
          <a:prstGeom prst="rect">
            <a:avLst/>
          </a:prstGeom>
          <a:noFill/>
          <a:ln>
            <a:noFill/>
          </a:ln>
        </p:spPr>
        <p:txBody>
          <a:bodyPr spcFirstLastPara="1" wrap="square" lIns="0" tIns="0" rIns="0" bIns="0" anchor="t" anchorCtr="0">
            <a:noAutofit/>
          </a:bodyPr>
          <a:lstStyle>
            <a:lvl1pPr marL="457200" lvl="0" indent="-355600" algn="l">
              <a:lnSpc>
                <a:spcPct val="95000"/>
              </a:lnSpc>
              <a:spcBef>
                <a:spcPts val="1800"/>
              </a:spcBef>
              <a:spcAft>
                <a:spcPts val="0"/>
              </a:spcAft>
              <a:buSzPts val="2000"/>
              <a:buChar char="■"/>
              <a:defRPr sz="2000"/>
            </a:lvl1pPr>
            <a:lvl2pPr marL="914400" lvl="1" indent="-355600" algn="l">
              <a:lnSpc>
                <a:spcPct val="95000"/>
              </a:lnSpc>
              <a:spcBef>
                <a:spcPts val="600"/>
              </a:spcBef>
              <a:spcAft>
                <a:spcPts val="0"/>
              </a:spcAft>
              <a:buSzPts val="2000"/>
              <a:buChar char="►"/>
              <a:defRPr sz="2000"/>
            </a:lvl2pPr>
            <a:lvl3pPr marL="1371600" lvl="2" indent="-355600" algn="l">
              <a:lnSpc>
                <a:spcPct val="95000"/>
              </a:lnSpc>
              <a:spcBef>
                <a:spcPts val="0"/>
              </a:spcBef>
              <a:spcAft>
                <a:spcPts val="0"/>
              </a:spcAft>
              <a:buSzPts val="2000"/>
              <a:buChar char="●"/>
              <a:defRPr sz="2000"/>
            </a:lvl3pPr>
            <a:lvl4pPr marL="1828800" lvl="3" indent="-355600" algn="l">
              <a:lnSpc>
                <a:spcPct val="95000"/>
              </a:lnSpc>
              <a:spcBef>
                <a:spcPts val="0"/>
              </a:spcBef>
              <a:spcAft>
                <a:spcPts val="0"/>
              </a:spcAft>
              <a:buSzPts val="2000"/>
              <a:buChar char="–"/>
              <a:defRPr sz="2000"/>
            </a:lvl4pPr>
            <a:lvl5pPr marL="2286000" lvl="4" indent="-355600" algn="l">
              <a:lnSpc>
                <a:spcPct val="95000"/>
              </a:lnSpc>
              <a:spcBef>
                <a:spcPts val="0"/>
              </a:spcBef>
              <a:spcAft>
                <a:spcPts val="0"/>
              </a:spcAft>
              <a:buSzPts val="2000"/>
              <a:buChar char="–"/>
              <a:defRPr sz="2000"/>
            </a:lvl5pPr>
            <a:lvl6pPr marL="2743200" lvl="5" indent="-342900" algn="l">
              <a:lnSpc>
                <a:spcPct val="95000"/>
              </a:lnSpc>
              <a:spcBef>
                <a:spcPts val="0"/>
              </a:spcBef>
              <a:spcAft>
                <a:spcPts val="0"/>
              </a:spcAft>
              <a:buClr>
                <a:schemeClr val="dk1"/>
              </a:buClr>
              <a:buSzPts val="1800"/>
              <a:buChar char="•"/>
              <a:defRPr sz="1800"/>
            </a:lvl6pPr>
            <a:lvl7pPr marL="3200400" lvl="6" indent="-342900" algn="l">
              <a:lnSpc>
                <a:spcPct val="95000"/>
              </a:lnSpc>
              <a:spcBef>
                <a:spcPts val="0"/>
              </a:spcBef>
              <a:spcAft>
                <a:spcPts val="0"/>
              </a:spcAft>
              <a:buClr>
                <a:schemeClr val="dk1"/>
              </a:buClr>
              <a:buSzPts val="1800"/>
              <a:buChar char="•"/>
              <a:defRPr sz="1800"/>
            </a:lvl7pPr>
            <a:lvl8pPr marL="3657600" lvl="7" indent="-342900" algn="l">
              <a:lnSpc>
                <a:spcPct val="95000"/>
              </a:lnSpc>
              <a:spcBef>
                <a:spcPts val="0"/>
              </a:spcBef>
              <a:spcAft>
                <a:spcPts val="0"/>
              </a:spcAft>
              <a:buClr>
                <a:schemeClr val="dk1"/>
              </a:buClr>
              <a:buSzPts val="1800"/>
              <a:buChar char="•"/>
              <a:defRPr sz="1800"/>
            </a:lvl8pPr>
            <a:lvl9pPr marL="4114800" lvl="8" indent="-342900" algn="l">
              <a:lnSpc>
                <a:spcPct val="95000"/>
              </a:lnSpc>
              <a:spcBef>
                <a:spcPts val="0"/>
              </a:spcBef>
              <a:spcAft>
                <a:spcPts val="0"/>
              </a:spcAft>
              <a:buClr>
                <a:schemeClr val="dk1"/>
              </a:buClr>
              <a:buSzPts val="1800"/>
              <a:buChar char="•"/>
              <a:defRPr sz="1800"/>
            </a:lvl9pPr>
          </a:lstStyle>
          <a:p>
            <a:endParaRPr/>
          </a:p>
        </p:txBody>
      </p:sp>
      <p:sp>
        <p:nvSpPr>
          <p:cNvPr id="35" name="Google Shape;35;p76"/>
          <p:cNvSpPr txBox="1">
            <a:spLocks noGrp="1"/>
          </p:cNvSpPr>
          <p:nvPr>
            <p:ph type="body" idx="2"/>
          </p:nvPr>
        </p:nvSpPr>
        <p:spPr>
          <a:xfrm>
            <a:off x="6165596" y="1965579"/>
            <a:ext cx="5800852" cy="3906012"/>
          </a:xfrm>
          <a:prstGeom prst="rect">
            <a:avLst/>
          </a:prstGeom>
          <a:noFill/>
          <a:ln>
            <a:noFill/>
          </a:ln>
        </p:spPr>
        <p:txBody>
          <a:bodyPr spcFirstLastPara="1" wrap="square" lIns="0" tIns="0" rIns="0" bIns="0" anchor="t" anchorCtr="0">
            <a:noAutofit/>
          </a:bodyPr>
          <a:lstStyle>
            <a:lvl1pPr marL="457200" lvl="0" indent="-355600" algn="l">
              <a:lnSpc>
                <a:spcPct val="95000"/>
              </a:lnSpc>
              <a:spcBef>
                <a:spcPts val="1800"/>
              </a:spcBef>
              <a:spcAft>
                <a:spcPts val="0"/>
              </a:spcAft>
              <a:buSzPts val="2000"/>
              <a:buChar char="■"/>
              <a:defRPr sz="2000"/>
            </a:lvl1pPr>
            <a:lvl2pPr marL="914400" lvl="1" indent="-355600" algn="l">
              <a:lnSpc>
                <a:spcPct val="95000"/>
              </a:lnSpc>
              <a:spcBef>
                <a:spcPts val="600"/>
              </a:spcBef>
              <a:spcAft>
                <a:spcPts val="0"/>
              </a:spcAft>
              <a:buSzPts val="2000"/>
              <a:buChar char="►"/>
              <a:defRPr sz="2000"/>
            </a:lvl2pPr>
            <a:lvl3pPr marL="1371600" lvl="2" indent="-355600" algn="l">
              <a:lnSpc>
                <a:spcPct val="95000"/>
              </a:lnSpc>
              <a:spcBef>
                <a:spcPts val="0"/>
              </a:spcBef>
              <a:spcAft>
                <a:spcPts val="0"/>
              </a:spcAft>
              <a:buSzPts val="2000"/>
              <a:buChar char="●"/>
              <a:defRPr sz="2000"/>
            </a:lvl3pPr>
            <a:lvl4pPr marL="1828800" lvl="3" indent="-355600" algn="l">
              <a:lnSpc>
                <a:spcPct val="95000"/>
              </a:lnSpc>
              <a:spcBef>
                <a:spcPts val="0"/>
              </a:spcBef>
              <a:spcAft>
                <a:spcPts val="0"/>
              </a:spcAft>
              <a:buSzPts val="2000"/>
              <a:buChar char="–"/>
              <a:defRPr sz="2000"/>
            </a:lvl4pPr>
            <a:lvl5pPr marL="2286000" lvl="4" indent="-355600" algn="l">
              <a:lnSpc>
                <a:spcPct val="95000"/>
              </a:lnSpc>
              <a:spcBef>
                <a:spcPts val="0"/>
              </a:spcBef>
              <a:spcAft>
                <a:spcPts val="0"/>
              </a:spcAft>
              <a:buSzPts val="2000"/>
              <a:buChar char="–"/>
              <a:defRPr sz="2000"/>
            </a:lvl5pPr>
            <a:lvl6pPr marL="2743200" lvl="5" indent="-342900" algn="l">
              <a:lnSpc>
                <a:spcPct val="95000"/>
              </a:lnSpc>
              <a:spcBef>
                <a:spcPts val="0"/>
              </a:spcBef>
              <a:spcAft>
                <a:spcPts val="0"/>
              </a:spcAft>
              <a:buClr>
                <a:schemeClr val="dk1"/>
              </a:buClr>
              <a:buSzPts val="1800"/>
              <a:buChar char="•"/>
              <a:defRPr sz="1800"/>
            </a:lvl6pPr>
            <a:lvl7pPr marL="3200400" lvl="6" indent="-342900" algn="l">
              <a:lnSpc>
                <a:spcPct val="95000"/>
              </a:lnSpc>
              <a:spcBef>
                <a:spcPts val="0"/>
              </a:spcBef>
              <a:spcAft>
                <a:spcPts val="0"/>
              </a:spcAft>
              <a:buClr>
                <a:schemeClr val="dk1"/>
              </a:buClr>
              <a:buSzPts val="1800"/>
              <a:buChar char="•"/>
              <a:defRPr sz="1800"/>
            </a:lvl7pPr>
            <a:lvl8pPr marL="3657600" lvl="7" indent="-342900" algn="l">
              <a:lnSpc>
                <a:spcPct val="95000"/>
              </a:lnSpc>
              <a:spcBef>
                <a:spcPts val="0"/>
              </a:spcBef>
              <a:spcAft>
                <a:spcPts val="0"/>
              </a:spcAft>
              <a:buClr>
                <a:schemeClr val="dk1"/>
              </a:buClr>
              <a:buSzPts val="1800"/>
              <a:buChar char="•"/>
              <a:defRPr sz="1800"/>
            </a:lvl8pPr>
            <a:lvl9pPr marL="4114800" lvl="8" indent="-342900" algn="l">
              <a:lnSpc>
                <a:spcPct val="95000"/>
              </a:lnSpc>
              <a:spcBef>
                <a:spcPts val="0"/>
              </a:spcBef>
              <a:spcAft>
                <a:spcPts val="0"/>
              </a:spcAft>
              <a:buClr>
                <a:schemeClr val="dk1"/>
              </a:buClr>
              <a:buSzPts val="1800"/>
              <a:buChar char="•"/>
              <a:defRPr sz="1800"/>
            </a:lvl9pPr>
          </a:lstStyle>
          <a:p>
            <a:endParaRPr/>
          </a:p>
        </p:txBody>
      </p:sp>
      <p:sp>
        <p:nvSpPr>
          <p:cNvPr id="36" name="Google Shape;36;p76"/>
          <p:cNvSpPr txBox="1">
            <a:spLocks noGrp="1"/>
          </p:cNvSpPr>
          <p:nvPr>
            <p:ph type="ftr" idx="11"/>
          </p:nvPr>
        </p:nvSpPr>
        <p:spPr>
          <a:xfrm>
            <a:off x="1368000" y="6516000"/>
            <a:ext cx="7920000" cy="169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dk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76"/>
          <p:cNvSpPr txBox="1">
            <a:spLocks noGrp="1"/>
          </p:cNvSpPr>
          <p:nvPr>
            <p:ph type="dt" idx="10"/>
          </p:nvPr>
        </p:nvSpPr>
        <p:spPr>
          <a:xfrm>
            <a:off x="687600" y="6516000"/>
            <a:ext cx="468000" cy="151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dk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76"/>
          <p:cNvSpPr txBox="1">
            <a:spLocks noGrp="1"/>
          </p:cNvSpPr>
          <p:nvPr>
            <p:ph type="sldNum" idx="12"/>
          </p:nvPr>
        </p:nvSpPr>
        <p:spPr>
          <a:xfrm>
            <a:off x="226800" y="6516000"/>
            <a:ext cx="360000" cy="151200"/>
          </a:xfrm>
          <a:prstGeom prst="rect">
            <a:avLst/>
          </a:prstGeom>
          <a:noFill/>
          <a:ln>
            <a:noFill/>
          </a:ln>
        </p:spPr>
        <p:txBody>
          <a:bodyPr spcFirstLastPara="1" wrap="square" lIns="0" tIns="0" rIns="0" bIns="0" anchor="t" anchorCtr="0">
            <a:noAutofit/>
          </a:bodyPr>
          <a:lstStyle>
            <a:lvl1pPr marL="0" marR="0" lvl="0"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de-DE"/>
              <a:t>‹Nr.›</a:t>
            </a:fld>
            <a:endParaRPr/>
          </a:p>
        </p:txBody>
      </p:sp>
    </p:spTree>
    <p:extLst>
      <p:ext uri="{BB962C8B-B14F-4D97-AF65-F5344CB8AC3E}">
        <p14:creationId xmlns:p14="http://schemas.microsoft.com/office/powerpoint/2010/main" val="2441152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a:solidFill>
                  <a:srgbClr val="C50022"/>
                </a:solidFill>
              </a:rPr>
              <a:t>     </a:t>
            </a:r>
            <a:endParaRPr lang="de-DE" sz="1800">
              <a:solidFill>
                <a:srgbClr val="C50022"/>
              </a:solidFill>
            </a:endParaRP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endParaRPr lang="de-DE"/>
          </a:p>
        </p:txBody>
      </p:sp>
      <p:sp>
        <p:nvSpPr>
          <p:cNvPr id="13" name="Fußzeilenplatzhalter 6">
            <a:extLst>
              <a:ext uri="{FF2B5EF4-FFF2-40B4-BE49-F238E27FC236}">
                <a16:creationId xmlns:a16="http://schemas.microsoft.com/office/drawing/2014/main" id="{D34A7C90-2662-493E-BCCF-04AD8C9BBB9D}"/>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endParaRPr lang="de-DE"/>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8" name="Textplatzhalter 2">
            <a:extLst>
              <a:ext uri="{FF2B5EF4-FFF2-40B4-BE49-F238E27FC236}">
                <a16:creationId xmlns:a16="http://schemas.microsoft.com/office/drawing/2014/main" id="{44D75E26-83F6-4FCE-B2B5-E37B5CBF5B47}"/>
              </a:ext>
            </a:extLst>
          </p:cNvPr>
          <p:cNvSpPr>
            <a:spLocks noGrp="1"/>
          </p:cNvSpPr>
          <p:nvPr>
            <p:ph idx="1"/>
          </p:nvPr>
        </p:nvSpPr>
        <p:spPr>
          <a:xfrm>
            <a:off x="211068" y="1964564"/>
            <a:ext cx="11753889" cy="3905999"/>
          </a:xfrm>
          <a:prstGeom prst="rect">
            <a:avLst/>
          </a:prstGeom>
        </p:spPr>
        <p:txBody>
          <a:bodyPr vert="horz" lIns="0" tIns="0" rIns="0" bIns="0" rtlCol="0">
            <a:noAutofit/>
          </a:bodyPr>
          <a:lstStyle>
            <a:lvl1pPr>
              <a:lnSpc>
                <a:spcPct val="110000"/>
              </a:lnSpc>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7928769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hapter divider">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BF99DE42-C73F-C908-CD2C-8474FEFDB5CE}"/>
              </a:ext>
            </a:extLst>
          </p:cNvPr>
          <p:cNvSpPr>
            <a:spLocks noGrp="1"/>
          </p:cNvSpPr>
          <p:nvPr>
            <p:ph type="pic" sz="quarter" idx="15"/>
          </p:nvPr>
        </p:nvSpPr>
        <p:spPr>
          <a:xfrm>
            <a:off x="0" y="0"/>
            <a:ext cx="12192000" cy="6858000"/>
          </a:xfrm>
          <a:custGeom>
            <a:avLst/>
            <a:gdLst>
              <a:gd name="connsiteX0" fmla="*/ 2476750 w 12192000"/>
              <a:gd name="connsiteY0" fmla="*/ 2448000 h 6858000"/>
              <a:gd name="connsiteX1" fmla="*/ 2476750 w 12192000"/>
              <a:gd name="connsiteY1" fmla="*/ 3312000 h 6858000"/>
              <a:gd name="connsiteX2" fmla="*/ 2501950 w 12192000"/>
              <a:gd name="connsiteY2" fmla="*/ 3312000 h 6858000"/>
              <a:gd name="connsiteX3" fmla="*/ 2501950 w 12192000"/>
              <a:gd name="connsiteY3" fmla="*/ 24480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76750" y="2448000"/>
                </a:moveTo>
                <a:lnTo>
                  <a:pt x="2476750" y="3312000"/>
                </a:lnTo>
                <a:lnTo>
                  <a:pt x="2501950" y="3312000"/>
                </a:lnTo>
                <a:lnTo>
                  <a:pt x="2501950" y="2448000"/>
                </a:lnTo>
                <a:close/>
                <a:moveTo>
                  <a:pt x="0" y="0"/>
                </a:moveTo>
                <a:lnTo>
                  <a:pt x="12192000" y="0"/>
                </a:lnTo>
                <a:lnTo>
                  <a:pt x="12192000" y="6858000"/>
                </a:lnTo>
                <a:lnTo>
                  <a:pt x="0" y="6858000"/>
                </a:lnTo>
                <a:close/>
              </a:path>
            </a:pathLst>
          </a:custGeom>
          <a:solidFill>
            <a:schemeClr val="accent3"/>
          </a:solidFill>
        </p:spPr>
        <p:txBody>
          <a:bodyPr wrap="square" lIns="360000" tIns="648000" rIns="360000" anchor="ctr" anchorCtr="0">
            <a:noAutofit/>
          </a:bodyPr>
          <a:lstStyle>
            <a:lvl1pPr marL="0" indent="0" algn="ctr">
              <a:buNone/>
              <a:defRPr>
                <a:solidFill>
                  <a:schemeClr val="bg1"/>
                </a:solidFill>
              </a:defRPr>
            </a:lvl1pPr>
          </a:lstStyle>
          <a:p>
            <a:endParaRPr lang="de-DE" dirty="0"/>
          </a:p>
        </p:txBody>
      </p:sp>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lvl1pPr>
              <a:defRPr>
                <a:solidFill>
                  <a:schemeClr val="bg1"/>
                </a:solidFill>
              </a:defRPr>
            </a:lvl1pPr>
          </a:lstStyle>
          <a:p>
            <a:pPr>
              <a:defRPr/>
            </a:pPr>
            <a:endParaRPr lang="en-US" noProof="0" dirty="0"/>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lvl1pPr>
              <a:defRPr>
                <a:solidFill>
                  <a:schemeClr val="bg1"/>
                </a:solidFill>
              </a:defRPr>
            </a:lvl1pPr>
          </a:lstStyle>
          <a:p>
            <a:pPr>
              <a:defRPr/>
            </a:pPr>
            <a:endParaRPr lang="en-US" noProof="0" dirty="0"/>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lvl1pPr>
              <a:defRPr>
                <a:solidFill>
                  <a:schemeClr val="bg1"/>
                </a:solidFill>
              </a:defRPr>
            </a:lvl1pPr>
          </a:lstStyle>
          <a:p>
            <a:pPr>
              <a:defRPr/>
            </a:pPr>
            <a:fld id="{D7C0CCF7-DF53-4ADB-AAD8-9742C01AD446}" type="slidenum">
              <a:rPr lang="en-US" noProof="0" smtClean="0"/>
              <a:pPr>
                <a:defRPr/>
              </a:pPr>
              <a:t>‹Nr.›</a:t>
            </a:fld>
            <a:endParaRPr lang="en-US" noProof="0" dirty="0"/>
          </a:p>
        </p:txBody>
      </p:sp>
      <p:sp>
        <p:nvSpPr>
          <p:cNvPr id="13" name="Titel 1">
            <a:extLst>
              <a:ext uri="{FF2B5EF4-FFF2-40B4-BE49-F238E27FC236}">
                <a16:creationId xmlns:a16="http://schemas.microsoft.com/office/drawing/2014/main" id="{3A0F93ED-98BE-A6D0-4920-D63F3EDFA4F9}"/>
              </a:ext>
            </a:extLst>
          </p:cNvPr>
          <p:cNvSpPr>
            <a:spLocks noGrp="1"/>
          </p:cNvSpPr>
          <p:nvPr>
            <p:ph type="title" hasCustomPrompt="1"/>
          </p:nvPr>
        </p:nvSpPr>
        <p:spPr>
          <a:xfrm>
            <a:off x="2783632" y="2448000"/>
            <a:ext cx="9181567" cy="864000"/>
          </a:xfrm>
        </p:spPr>
        <p:txBody>
          <a:bodyPr anchor="ctr" anchorCtr="0"/>
          <a:lstStyle>
            <a:lvl1pPr algn="l">
              <a:defRPr sz="4800" b="0">
                <a:solidFill>
                  <a:schemeClr val="bg1"/>
                </a:solidFill>
              </a:defRPr>
            </a:lvl1pPr>
          </a:lstStyle>
          <a:p>
            <a:r>
              <a:rPr lang="en-US" noProof="0" dirty="0"/>
              <a:t>Name of chapter</a:t>
            </a:r>
          </a:p>
        </p:txBody>
      </p:sp>
      <p:sp>
        <p:nvSpPr>
          <p:cNvPr id="16" name="Textplatzhalter 16">
            <a:extLst>
              <a:ext uri="{FF2B5EF4-FFF2-40B4-BE49-F238E27FC236}">
                <a16:creationId xmlns:a16="http://schemas.microsoft.com/office/drawing/2014/main" id="{9B50ABB2-7F8B-B239-AC5D-9933D1C14353}"/>
              </a:ext>
            </a:extLst>
          </p:cNvPr>
          <p:cNvSpPr>
            <a:spLocks noGrp="1"/>
          </p:cNvSpPr>
          <p:nvPr>
            <p:ph type="body" sz="quarter" idx="13" hasCustomPrompt="1"/>
          </p:nvPr>
        </p:nvSpPr>
        <p:spPr>
          <a:xfrm>
            <a:off x="226800" y="2448000"/>
            <a:ext cx="2016000" cy="864000"/>
          </a:xfrm>
        </p:spPr>
        <p:txBody>
          <a:bodyPr bIns="0" anchor="ctr" anchorCtr="0"/>
          <a:lstStyle>
            <a:lvl1pPr marL="0" indent="0" algn="r">
              <a:lnSpc>
                <a:spcPct val="100000"/>
              </a:lnSpc>
              <a:spcBef>
                <a:spcPts val="0"/>
              </a:spcBef>
              <a:spcAft>
                <a:spcPts val="0"/>
              </a:spcAft>
              <a:buFontTx/>
              <a:buNone/>
              <a:defRPr sz="7200" b="0">
                <a:solidFill>
                  <a:schemeClr val="bg1"/>
                </a:solidFill>
                <a:latin typeface="+mn-lt"/>
              </a:defRPr>
            </a:lvl1pPr>
            <a:lvl2pPr marL="0" indent="0" algn="r">
              <a:lnSpc>
                <a:spcPct val="100000"/>
              </a:lnSpc>
              <a:spcBef>
                <a:spcPts val="0"/>
              </a:spcBef>
              <a:spcAft>
                <a:spcPts val="0"/>
              </a:spcAft>
              <a:buFontTx/>
              <a:buNone/>
              <a:defRPr sz="7200" b="0">
                <a:solidFill>
                  <a:schemeClr val="bg1"/>
                </a:solidFill>
                <a:latin typeface="+mn-lt"/>
              </a:defRPr>
            </a:lvl2pPr>
            <a:lvl3pPr marL="0" indent="0" algn="r">
              <a:lnSpc>
                <a:spcPct val="100000"/>
              </a:lnSpc>
              <a:spcBef>
                <a:spcPts val="0"/>
              </a:spcBef>
              <a:spcAft>
                <a:spcPts val="0"/>
              </a:spcAft>
              <a:buFontTx/>
              <a:buNone/>
              <a:defRPr sz="7200" b="0">
                <a:solidFill>
                  <a:schemeClr val="bg1"/>
                </a:solidFill>
                <a:latin typeface="+mn-lt"/>
              </a:defRPr>
            </a:lvl3pPr>
            <a:lvl4pPr marL="0" indent="0" algn="r">
              <a:lnSpc>
                <a:spcPct val="100000"/>
              </a:lnSpc>
              <a:spcBef>
                <a:spcPts val="0"/>
              </a:spcBef>
              <a:spcAft>
                <a:spcPts val="0"/>
              </a:spcAft>
              <a:buFontTx/>
              <a:buNone/>
              <a:defRPr sz="7200" b="0">
                <a:solidFill>
                  <a:schemeClr val="bg1"/>
                </a:solidFill>
                <a:latin typeface="+mn-lt"/>
              </a:defRPr>
            </a:lvl4pPr>
            <a:lvl5pPr marL="0" indent="0" algn="r">
              <a:lnSpc>
                <a:spcPct val="100000"/>
              </a:lnSpc>
              <a:spcBef>
                <a:spcPts val="0"/>
              </a:spcBef>
              <a:spcAft>
                <a:spcPts val="0"/>
              </a:spcAft>
              <a:buFontTx/>
              <a:buNone/>
              <a:defRPr sz="7200" b="0">
                <a:solidFill>
                  <a:schemeClr val="bg1"/>
                </a:solidFill>
                <a:latin typeface="+mn-lt"/>
              </a:defRPr>
            </a:lvl5pPr>
            <a:lvl6pPr marL="0" indent="0" algn="r">
              <a:lnSpc>
                <a:spcPct val="100000"/>
              </a:lnSpc>
              <a:spcBef>
                <a:spcPts val="0"/>
              </a:spcBef>
              <a:spcAft>
                <a:spcPts val="0"/>
              </a:spcAft>
              <a:buFontTx/>
              <a:buNone/>
              <a:defRPr sz="7200" b="0">
                <a:solidFill>
                  <a:schemeClr val="bg1"/>
                </a:solidFill>
                <a:latin typeface="+mn-lt"/>
              </a:defRPr>
            </a:lvl6pPr>
            <a:lvl7pPr marL="0" indent="0" algn="r">
              <a:lnSpc>
                <a:spcPct val="100000"/>
              </a:lnSpc>
              <a:spcBef>
                <a:spcPts val="0"/>
              </a:spcBef>
              <a:spcAft>
                <a:spcPts val="0"/>
              </a:spcAft>
              <a:buFontTx/>
              <a:buNone/>
              <a:defRPr sz="7200" b="0">
                <a:solidFill>
                  <a:schemeClr val="bg1"/>
                </a:solidFill>
                <a:latin typeface="+mn-lt"/>
              </a:defRPr>
            </a:lvl7pPr>
            <a:lvl8pPr marL="0" indent="0" algn="r">
              <a:lnSpc>
                <a:spcPct val="100000"/>
              </a:lnSpc>
              <a:spcBef>
                <a:spcPts val="0"/>
              </a:spcBef>
              <a:spcAft>
                <a:spcPts val="0"/>
              </a:spcAft>
              <a:buFontTx/>
              <a:buNone/>
              <a:defRPr sz="7200" b="0">
                <a:solidFill>
                  <a:schemeClr val="bg1"/>
                </a:solidFill>
                <a:latin typeface="+mn-lt"/>
              </a:defRPr>
            </a:lvl8pPr>
            <a:lvl9pPr marL="0" indent="0" algn="r">
              <a:lnSpc>
                <a:spcPct val="100000"/>
              </a:lnSpc>
              <a:spcBef>
                <a:spcPts val="0"/>
              </a:spcBef>
              <a:spcAft>
                <a:spcPts val="0"/>
              </a:spcAft>
              <a:buFontTx/>
              <a:buNone/>
              <a:defRPr sz="7200" b="0">
                <a:solidFill>
                  <a:schemeClr val="bg1"/>
                </a:solidFill>
                <a:latin typeface="+mn-lt"/>
              </a:defRPr>
            </a:lvl9pPr>
          </a:lstStyle>
          <a:p>
            <a:pPr lvl="0"/>
            <a:r>
              <a:rPr lang="en-US" noProof="0" dirty="0"/>
              <a:t>00</a:t>
            </a:r>
          </a:p>
        </p:txBody>
      </p:sp>
      <p:sp>
        <p:nvSpPr>
          <p:cNvPr id="12" name="Textplatzhalter 8">
            <a:extLst>
              <a:ext uri="{FF2B5EF4-FFF2-40B4-BE49-F238E27FC236}">
                <a16:creationId xmlns:a16="http://schemas.microsoft.com/office/drawing/2014/main" id="{49298CE4-66D5-5C45-62AB-6F5AFA3B8791}"/>
              </a:ext>
            </a:extLst>
          </p:cNvPr>
          <p:cNvSpPr>
            <a:spLocks noGrp="1"/>
          </p:cNvSpPr>
          <p:nvPr>
            <p:ph type="body" sz="quarter" idx="16"/>
          </p:nvPr>
        </p:nvSpPr>
        <p:spPr>
          <a:xfrm>
            <a:off x="9600001" y="5768575"/>
            <a:ext cx="2592000" cy="864000"/>
          </a:xfrm>
          <a:blipFill>
            <a:blip r:embed="rId2"/>
            <a:stretch>
              <a:fillRect/>
            </a:stretch>
          </a:blipFill>
        </p:spPr>
        <p:txBody>
          <a:bodyPr/>
          <a:lstStyle>
            <a:lvl1pPr marL="0" indent="0">
              <a:spcBef>
                <a:spcPts val="0"/>
              </a:spcBef>
              <a:buFontTx/>
              <a:buNone/>
              <a:defRPr sz="100">
                <a:solidFill>
                  <a:schemeClr val="bg1">
                    <a:alpha val="0"/>
                  </a:schemeClr>
                </a:solidFill>
              </a:defRPr>
            </a:lvl1pPr>
            <a:lvl2pPr marL="0" indent="0">
              <a:spcBef>
                <a:spcPts val="0"/>
              </a:spcBef>
              <a:buFontTx/>
              <a:buNone/>
              <a:defRPr sz="100">
                <a:solidFill>
                  <a:schemeClr val="bg1">
                    <a:alpha val="0"/>
                  </a:schemeClr>
                </a:solidFill>
              </a:defRPr>
            </a:lvl2pPr>
            <a:lvl3pPr marL="0" indent="0">
              <a:spcBef>
                <a:spcPts val="0"/>
              </a:spcBef>
              <a:buFontTx/>
              <a:buNone/>
              <a:defRPr sz="100">
                <a:solidFill>
                  <a:schemeClr val="bg1">
                    <a:alpha val="0"/>
                  </a:schemeClr>
                </a:solidFill>
              </a:defRPr>
            </a:lvl3pPr>
            <a:lvl4pPr marL="0" indent="0">
              <a:spcBef>
                <a:spcPts val="0"/>
              </a:spcBef>
              <a:buFontTx/>
              <a:buNone/>
              <a:defRPr sz="100">
                <a:solidFill>
                  <a:schemeClr val="bg1">
                    <a:alpha val="0"/>
                  </a:schemeClr>
                </a:solidFill>
              </a:defRPr>
            </a:lvl4pPr>
            <a:lvl5pPr marL="0" indent="0">
              <a:spcBef>
                <a:spcPts val="0"/>
              </a:spcBef>
              <a:buFontTx/>
              <a:buNone/>
              <a:defRPr sz="100">
                <a:solidFill>
                  <a:schemeClr val="bg1">
                    <a:alpha val="0"/>
                  </a:schemeClr>
                </a:solidFill>
              </a:defRPr>
            </a:lvl5pPr>
          </a:lstStyle>
          <a:p>
            <a:pPr lvl="0"/>
            <a:endParaRPr lang="en-US" noProof="0" dirty="0"/>
          </a:p>
        </p:txBody>
      </p:sp>
    </p:spTree>
    <p:extLst>
      <p:ext uri="{BB962C8B-B14F-4D97-AF65-F5344CB8AC3E}">
        <p14:creationId xmlns:p14="http://schemas.microsoft.com/office/powerpoint/2010/main" val="129188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2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Leer">
    <p:bg>
      <p:bgPr>
        <a:solidFill>
          <a:schemeClr val="tx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9CBFF06-F6EA-F464-E5BE-C4B424DB80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07295" y="5093649"/>
            <a:ext cx="949934" cy="1176783"/>
          </a:xfrm>
          <a:prstGeom prst="rect">
            <a:avLst/>
          </a:prstGeom>
        </p:spPr>
      </p:pic>
      <p:sp>
        <p:nvSpPr>
          <p:cNvPr id="2" name="Titel 1">
            <a:extLst>
              <a:ext uri="{FF2B5EF4-FFF2-40B4-BE49-F238E27FC236}">
                <a16:creationId xmlns:a16="http://schemas.microsoft.com/office/drawing/2014/main" id="{36F29B58-B38F-29F4-D407-97C3C641E4C4}"/>
              </a:ext>
            </a:extLst>
          </p:cNvPr>
          <p:cNvSpPr>
            <a:spLocks noGrp="1"/>
          </p:cNvSpPr>
          <p:nvPr>
            <p:ph type="ctrTitle" hasCustomPrompt="1"/>
          </p:nvPr>
        </p:nvSpPr>
        <p:spPr>
          <a:xfrm>
            <a:off x="675397" y="695325"/>
            <a:ext cx="5231537" cy="1419186"/>
          </a:xfrm>
        </p:spPr>
        <p:txBody>
          <a:bodyPr anchor="b" anchorCtr="0"/>
          <a:lstStyle>
            <a:lvl1pPr algn="l">
              <a:defRPr sz="3600" spc="-100" baseline="0">
                <a:solidFill>
                  <a:schemeClr val="bg1"/>
                </a:solidFill>
              </a:defRPr>
            </a:lvl1pPr>
          </a:lstStyle>
          <a:p>
            <a:r>
              <a:rPr lang="de-DE"/>
              <a:t>Mastertitelformat </a:t>
            </a:r>
            <a:br>
              <a:rPr lang="de-DE"/>
            </a:br>
            <a:r>
              <a:rPr lang="de-DE"/>
              <a:t>bearbeiten</a:t>
            </a:r>
            <a:endParaRPr lang="en-GB"/>
          </a:p>
        </p:txBody>
      </p:sp>
      <p:pic>
        <p:nvPicPr>
          <p:cNvPr id="3" name="Grafik 2">
            <a:extLst>
              <a:ext uri="{FF2B5EF4-FFF2-40B4-BE49-F238E27FC236}">
                <a16:creationId xmlns:a16="http://schemas.microsoft.com/office/drawing/2014/main" id="{66426A48-4E33-9D3B-05D0-3B4B5B8A05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07295" y="5093649"/>
            <a:ext cx="949934" cy="1176783"/>
          </a:xfrm>
          <a:prstGeom prst="rect">
            <a:avLst/>
          </a:prstGeom>
        </p:spPr>
      </p:pic>
    </p:spTree>
    <p:extLst>
      <p:ext uri="{BB962C8B-B14F-4D97-AF65-F5344CB8AC3E}">
        <p14:creationId xmlns:p14="http://schemas.microsoft.com/office/powerpoint/2010/main" val="2891586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a:solidFill>
                  <a:srgbClr val="C50022"/>
                </a:solidFill>
              </a:rPr>
              <a:t>     </a:t>
            </a:r>
            <a:endParaRPr lang="de-DE" sz="1800">
              <a:solidFill>
                <a:srgbClr val="C50022"/>
              </a:solidFill>
            </a:endParaRP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endParaRPr lang="de-DE"/>
          </a:p>
        </p:txBody>
      </p:sp>
      <p:sp>
        <p:nvSpPr>
          <p:cNvPr id="13" name="Fußzeilenplatzhalter 6">
            <a:extLst>
              <a:ext uri="{FF2B5EF4-FFF2-40B4-BE49-F238E27FC236}">
                <a16:creationId xmlns:a16="http://schemas.microsoft.com/office/drawing/2014/main" id="{D34A7C90-2662-493E-BCCF-04AD8C9BBB9D}"/>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endParaRPr lang="de-DE"/>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8" name="Textplatzhalter 2">
            <a:extLst>
              <a:ext uri="{FF2B5EF4-FFF2-40B4-BE49-F238E27FC236}">
                <a16:creationId xmlns:a16="http://schemas.microsoft.com/office/drawing/2014/main" id="{44D75E26-83F6-4FCE-B2B5-E37B5CBF5B47}"/>
              </a:ext>
            </a:extLst>
          </p:cNvPr>
          <p:cNvSpPr>
            <a:spLocks noGrp="1"/>
          </p:cNvSpPr>
          <p:nvPr>
            <p:ph idx="1"/>
          </p:nvPr>
        </p:nvSpPr>
        <p:spPr>
          <a:xfrm>
            <a:off x="211068" y="1964564"/>
            <a:ext cx="11753889" cy="3905999"/>
          </a:xfrm>
          <a:prstGeom prst="rect">
            <a:avLst/>
          </a:prstGeom>
        </p:spPr>
        <p:txBody>
          <a:bodyPr vert="horz" lIns="0" tIns="0" rIns="0" bIns="0" rtlCol="0">
            <a:noAutofit/>
          </a:bodyPr>
          <a:lstStyle>
            <a:lvl1pPr>
              <a:lnSpc>
                <a:spcPct val="110000"/>
              </a:lnSpc>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64802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el und zweispaltiger Text" type="twoColTx">
  <p:cSld name="Titel und zweispaltiger Text">
    <p:spTree>
      <p:nvGrpSpPr>
        <p:cNvPr id="1" name="Shape 32"/>
        <p:cNvGrpSpPr/>
        <p:nvPr/>
      </p:nvGrpSpPr>
      <p:grpSpPr>
        <a:xfrm>
          <a:off x="0" y="0"/>
          <a:ext cx="0" cy="0"/>
          <a:chOff x="0" y="0"/>
          <a:chExt cx="0" cy="0"/>
        </a:xfrm>
      </p:grpSpPr>
      <p:sp>
        <p:nvSpPr>
          <p:cNvPr id="33" name="Google Shape;33;p76"/>
          <p:cNvSpPr txBox="1">
            <a:spLocks noGrp="1"/>
          </p:cNvSpPr>
          <p:nvPr>
            <p:ph type="title"/>
          </p:nvPr>
        </p:nvSpPr>
        <p:spPr>
          <a:xfrm>
            <a:off x="219600" y="432000"/>
            <a:ext cx="11736000" cy="853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accent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76"/>
          <p:cNvSpPr txBox="1">
            <a:spLocks noGrp="1"/>
          </p:cNvSpPr>
          <p:nvPr>
            <p:ph type="body" idx="1"/>
          </p:nvPr>
        </p:nvSpPr>
        <p:spPr>
          <a:xfrm>
            <a:off x="212344" y="1965579"/>
            <a:ext cx="5800852" cy="3906012"/>
          </a:xfrm>
          <a:prstGeom prst="rect">
            <a:avLst/>
          </a:prstGeom>
          <a:noFill/>
          <a:ln>
            <a:noFill/>
          </a:ln>
        </p:spPr>
        <p:txBody>
          <a:bodyPr spcFirstLastPara="1" wrap="square" lIns="0" tIns="0" rIns="0" bIns="0" anchor="t" anchorCtr="0">
            <a:noAutofit/>
          </a:bodyPr>
          <a:lstStyle>
            <a:lvl1pPr marL="457200" lvl="0" indent="-355600" algn="l">
              <a:lnSpc>
                <a:spcPct val="95000"/>
              </a:lnSpc>
              <a:spcBef>
                <a:spcPts val="1800"/>
              </a:spcBef>
              <a:spcAft>
                <a:spcPts val="0"/>
              </a:spcAft>
              <a:buSzPts val="2000"/>
              <a:buChar char="■"/>
              <a:defRPr sz="2000"/>
            </a:lvl1pPr>
            <a:lvl2pPr marL="914400" lvl="1" indent="-355600" algn="l">
              <a:lnSpc>
                <a:spcPct val="95000"/>
              </a:lnSpc>
              <a:spcBef>
                <a:spcPts val="600"/>
              </a:spcBef>
              <a:spcAft>
                <a:spcPts val="0"/>
              </a:spcAft>
              <a:buSzPts val="2000"/>
              <a:buChar char="►"/>
              <a:defRPr sz="2000"/>
            </a:lvl2pPr>
            <a:lvl3pPr marL="1371600" lvl="2" indent="-355600" algn="l">
              <a:lnSpc>
                <a:spcPct val="95000"/>
              </a:lnSpc>
              <a:spcBef>
                <a:spcPts val="0"/>
              </a:spcBef>
              <a:spcAft>
                <a:spcPts val="0"/>
              </a:spcAft>
              <a:buSzPts val="2000"/>
              <a:buChar char="●"/>
              <a:defRPr sz="2000"/>
            </a:lvl3pPr>
            <a:lvl4pPr marL="1828800" lvl="3" indent="-355600" algn="l">
              <a:lnSpc>
                <a:spcPct val="95000"/>
              </a:lnSpc>
              <a:spcBef>
                <a:spcPts val="0"/>
              </a:spcBef>
              <a:spcAft>
                <a:spcPts val="0"/>
              </a:spcAft>
              <a:buSzPts val="2000"/>
              <a:buChar char="–"/>
              <a:defRPr sz="2000"/>
            </a:lvl4pPr>
            <a:lvl5pPr marL="2286000" lvl="4" indent="-355600" algn="l">
              <a:lnSpc>
                <a:spcPct val="95000"/>
              </a:lnSpc>
              <a:spcBef>
                <a:spcPts val="0"/>
              </a:spcBef>
              <a:spcAft>
                <a:spcPts val="0"/>
              </a:spcAft>
              <a:buSzPts val="2000"/>
              <a:buChar char="–"/>
              <a:defRPr sz="2000"/>
            </a:lvl5pPr>
            <a:lvl6pPr marL="2743200" lvl="5" indent="-342900" algn="l">
              <a:lnSpc>
                <a:spcPct val="95000"/>
              </a:lnSpc>
              <a:spcBef>
                <a:spcPts val="0"/>
              </a:spcBef>
              <a:spcAft>
                <a:spcPts val="0"/>
              </a:spcAft>
              <a:buClr>
                <a:schemeClr val="dk1"/>
              </a:buClr>
              <a:buSzPts val="1800"/>
              <a:buChar char="•"/>
              <a:defRPr sz="1800"/>
            </a:lvl6pPr>
            <a:lvl7pPr marL="3200400" lvl="6" indent="-342900" algn="l">
              <a:lnSpc>
                <a:spcPct val="95000"/>
              </a:lnSpc>
              <a:spcBef>
                <a:spcPts val="0"/>
              </a:spcBef>
              <a:spcAft>
                <a:spcPts val="0"/>
              </a:spcAft>
              <a:buClr>
                <a:schemeClr val="dk1"/>
              </a:buClr>
              <a:buSzPts val="1800"/>
              <a:buChar char="•"/>
              <a:defRPr sz="1800"/>
            </a:lvl7pPr>
            <a:lvl8pPr marL="3657600" lvl="7" indent="-342900" algn="l">
              <a:lnSpc>
                <a:spcPct val="95000"/>
              </a:lnSpc>
              <a:spcBef>
                <a:spcPts val="0"/>
              </a:spcBef>
              <a:spcAft>
                <a:spcPts val="0"/>
              </a:spcAft>
              <a:buClr>
                <a:schemeClr val="dk1"/>
              </a:buClr>
              <a:buSzPts val="1800"/>
              <a:buChar char="•"/>
              <a:defRPr sz="1800"/>
            </a:lvl8pPr>
            <a:lvl9pPr marL="4114800" lvl="8" indent="-342900" algn="l">
              <a:lnSpc>
                <a:spcPct val="95000"/>
              </a:lnSpc>
              <a:spcBef>
                <a:spcPts val="0"/>
              </a:spcBef>
              <a:spcAft>
                <a:spcPts val="0"/>
              </a:spcAft>
              <a:buClr>
                <a:schemeClr val="dk1"/>
              </a:buClr>
              <a:buSzPts val="1800"/>
              <a:buChar char="•"/>
              <a:defRPr sz="1800"/>
            </a:lvl9pPr>
          </a:lstStyle>
          <a:p>
            <a:endParaRPr/>
          </a:p>
        </p:txBody>
      </p:sp>
      <p:sp>
        <p:nvSpPr>
          <p:cNvPr id="35" name="Google Shape;35;p76"/>
          <p:cNvSpPr txBox="1">
            <a:spLocks noGrp="1"/>
          </p:cNvSpPr>
          <p:nvPr>
            <p:ph type="body" idx="2"/>
          </p:nvPr>
        </p:nvSpPr>
        <p:spPr>
          <a:xfrm>
            <a:off x="6165596" y="1965579"/>
            <a:ext cx="5800852" cy="3906012"/>
          </a:xfrm>
          <a:prstGeom prst="rect">
            <a:avLst/>
          </a:prstGeom>
          <a:noFill/>
          <a:ln>
            <a:noFill/>
          </a:ln>
        </p:spPr>
        <p:txBody>
          <a:bodyPr spcFirstLastPara="1" wrap="square" lIns="0" tIns="0" rIns="0" bIns="0" anchor="t" anchorCtr="0">
            <a:noAutofit/>
          </a:bodyPr>
          <a:lstStyle>
            <a:lvl1pPr marL="457200" lvl="0" indent="-355600" algn="l">
              <a:lnSpc>
                <a:spcPct val="95000"/>
              </a:lnSpc>
              <a:spcBef>
                <a:spcPts val="1800"/>
              </a:spcBef>
              <a:spcAft>
                <a:spcPts val="0"/>
              </a:spcAft>
              <a:buSzPts val="2000"/>
              <a:buChar char="■"/>
              <a:defRPr sz="2000"/>
            </a:lvl1pPr>
            <a:lvl2pPr marL="914400" lvl="1" indent="-355600" algn="l">
              <a:lnSpc>
                <a:spcPct val="95000"/>
              </a:lnSpc>
              <a:spcBef>
                <a:spcPts val="600"/>
              </a:spcBef>
              <a:spcAft>
                <a:spcPts val="0"/>
              </a:spcAft>
              <a:buSzPts val="2000"/>
              <a:buChar char="►"/>
              <a:defRPr sz="2000"/>
            </a:lvl2pPr>
            <a:lvl3pPr marL="1371600" lvl="2" indent="-355600" algn="l">
              <a:lnSpc>
                <a:spcPct val="95000"/>
              </a:lnSpc>
              <a:spcBef>
                <a:spcPts val="0"/>
              </a:spcBef>
              <a:spcAft>
                <a:spcPts val="0"/>
              </a:spcAft>
              <a:buSzPts val="2000"/>
              <a:buChar char="●"/>
              <a:defRPr sz="2000"/>
            </a:lvl3pPr>
            <a:lvl4pPr marL="1828800" lvl="3" indent="-355600" algn="l">
              <a:lnSpc>
                <a:spcPct val="95000"/>
              </a:lnSpc>
              <a:spcBef>
                <a:spcPts val="0"/>
              </a:spcBef>
              <a:spcAft>
                <a:spcPts val="0"/>
              </a:spcAft>
              <a:buSzPts val="2000"/>
              <a:buChar char="–"/>
              <a:defRPr sz="2000"/>
            </a:lvl4pPr>
            <a:lvl5pPr marL="2286000" lvl="4" indent="-355600" algn="l">
              <a:lnSpc>
                <a:spcPct val="95000"/>
              </a:lnSpc>
              <a:spcBef>
                <a:spcPts val="0"/>
              </a:spcBef>
              <a:spcAft>
                <a:spcPts val="0"/>
              </a:spcAft>
              <a:buSzPts val="2000"/>
              <a:buChar char="–"/>
              <a:defRPr sz="2000"/>
            </a:lvl5pPr>
            <a:lvl6pPr marL="2743200" lvl="5" indent="-342900" algn="l">
              <a:lnSpc>
                <a:spcPct val="95000"/>
              </a:lnSpc>
              <a:spcBef>
                <a:spcPts val="0"/>
              </a:spcBef>
              <a:spcAft>
                <a:spcPts val="0"/>
              </a:spcAft>
              <a:buClr>
                <a:schemeClr val="dk1"/>
              </a:buClr>
              <a:buSzPts val="1800"/>
              <a:buChar char="•"/>
              <a:defRPr sz="1800"/>
            </a:lvl6pPr>
            <a:lvl7pPr marL="3200400" lvl="6" indent="-342900" algn="l">
              <a:lnSpc>
                <a:spcPct val="95000"/>
              </a:lnSpc>
              <a:spcBef>
                <a:spcPts val="0"/>
              </a:spcBef>
              <a:spcAft>
                <a:spcPts val="0"/>
              </a:spcAft>
              <a:buClr>
                <a:schemeClr val="dk1"/>
              </a:buClr>
              <a:buSzPts val="1800"/>
              <a:buChar char="•"/>
              <a:defRPr sz="1800"/>
            </a:lvl7pPr>
            <a:lvl8pPr marL="3657600" lvl="7" indent="-342900" algn="l">
              <a:lnSpc>
                <a:spcPct val="95000"/>
              </a:lnSpc>
              <a:spcBef>
                <a:spcPts val="0"/>
              </a:spcBef>
              <a:spcAft>
                <a:spcPts val="0"/>
              </a:spcAft>
              <a:buClr>
                <a:schemeClr val="dk1"/>
              </a:buClr>
              <a:buSzPts val="1800"/>
              <a:buChar char="•"/>
              <a:defRPr sz="1800"/>
            </a:lvl8pPr>
            <a:lvl9pPr marL="4114800" lvl="8" indent="-342900" algn="l">
              <a:lnSpc>
                <a:spcPct val="95000"/>
              </a:lnSpc>
              <a:spcBef>
                <a:spcPts val="0"/>
              </a:spcBef>
              <a:spcAft>
                <a:spcPts val="0"/>
              </a:spcAft>
              <a:buClr>
                <a:schemeClr val="dk1"/>
              </a:buClr>
              <a:buSzPts val="1800"/>
              <a:buChar char="•"/>
              <a:defRPr sz="1800"/>
            </a:lvl9pPr>
          </a:lstStyle>
          <a:p>
            <a:endParaRPr/>
          </a:p>
        </p:txBody>
      </p:sp>
      <p:sp>
        <p:nvSpPr>
          <p:cNvPr id="36" name="Google Shape;36;p76"/>
          <p:cNvSpPr txBox="1">
            <a:spLocks noGrp="1"/>
          </p:cNvSpPr>
          <p:nvPr>
            <p:ph type="ftr" idx="11"/>
          </p:nvPr>
        </p:nvSpPr>
        <p:spPr>
          <a:xfrm>
            <a:off x="1368000" y="6516000"/>
            <a:ext cx="7920000" cy="169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dk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76"/>
          <p:cNvSpPr txBox="1">
            <a:spLocks noGrp="1"/>
          </p:cNvSpPr>
          <p:nvPr>
            <p:ph type="dt" idx="10"/>
          </p:nvPr>
        </p:nvSpPr>
        <p:spPr>
          <a:xfrm>
            <a:off x="687600" y="6516000"/>
            <a:ext cx="468000" cy="151200"/>
          </a:xfrm>
          <a:prstGeom prst="rect">
            <a:avLst/>
          </a:prstGeom>
          <a:noFill/>
          <a:ln>
            <a:noFill/>
          </a:ln>
        </p:spPr>
        <p:txBody>
          <a:bodyPr spcFirstLastPara="1" wrap="square" lIns="0" tIns="0" rIns="0" bIns="0" anchor="t" anchorCtr="0">
            <a:noAutofit/>
          </a:bodyPr>
          <a:lstStyle>
            <a:lvl1pPr lvl="0" algn="l">
              <a:lnSpc>
                <a:spcPct val="100000"/>
              </a:lnSpc>
              <a:spcBef>
                <a:spcPts val="110"/>
              </a:spcBef>
              <a:spcAft>
                <a:spcPts val="0"/>
              </a:spcAft>
              <a:buClr>
                <a:schemeClr val="dk1"/>
              </a:buClr>
              <a:buSzPts val="1800"/>
              <a:buNone/>
              <a:defRPr/>
            </a:lvl1pPr>
            <a:lvl2pPr lvl="1" algn="l">
              <a:lnSpc>
                <a:spcPct val="100000"/>
              </a:lnSpc>
              <a:spcBef>
                <a:spcPts val="11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76"/>
          <p:cNvSpPr txBox="1">
            <a:spLocks noGrp="1"/>
          </p:cNvSpPr>
          <p:nvPr>
            <p:ph type="sldNum" idx="12"/>
          </p:nvPr>
        </p:nvSpPr>
        <p:spPr>
          <a:xfrm>
            <a:off x="226800" y="6516000"/>
            <a:ext cx="360000" cy="151200"/>
          </a:xfrm>
          <a:prstGeom prst="rect">
            <a:avLst/>
          </a:prstGeom>
          <a:noFill/>
          <a:ln>
            <a:noFill/>
          </a:ln>
        </p:spPr>
        <p:txBody>
          <a:bodyPr spcFirstLastPara="1" wrap="square" lIns="0" tIns="0" rIns="0" bIns="0" anchor="t" anchorCtr="0">
            <a:noAutofit/>
          </a:bodyPr>
          <a:lstStyle>
            <a:lvl1pPr marL="0" marR="0" lvl="0"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de-DE"/>
              <a:t>‹Nr.›</a:t>
            </a:fld>
            <a:endParaRPr/>
          </a:p>
        </p:txBody>
      </p:sp>
    </p:spTree>
    <p:extLst>
      <p:ext uri="{BB962C8B-B14F-4D97-AF65-F5344CB8AC3E}">
        <p14:creationId xmlns:p14="http://schemas.microsoft.com/office/powerpoint/2010/main" val="3938243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ASF_Finale">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BF17CCB5-5A88-F848-27E3-3843A73B74EC}"/>
              </a:ext>
            </a:extLst>
          </p:cNvPr>
          <p:cNvSpPr>
            <a:spLocks noGrp="1"/>
          </p:cNvSpPr>
          <p:nvPr>
            <p:ph type="pic" sz="quarter" idx="10" hasCustomPrompt="1"/>
          </p:nvPr>
        </p:nvSpPr>
        <p:spPr>
          <a:xfrm>
            <a:off x="0" y="0"/>
            <a:ext cx="12192000" cy="6858000"/>
          </a:xfrm>
          <a:prstGeom prst="rect">
            <a:avLst/>
          </a:prstGeom>
          <a:solidFill>
            <a:schemeClr val="bg1"/>
          </a:solidFill>
        </p:spPr>
        <p:txBody>
          <a:bodyPr wrap="square" anchor="t" anchorCtr="0">
            <a:noAutofit/>
          </a:bodyPr>
          <a:lstStyle>
            <a:lvl1pPr marL="0" indent="0" algn="ctr">
              <a:buNone/>
              <a:defRPr/>
            </a:lvl1pPr>
          </a:lstStyle>
          <a:p>
            <a:r>
              <a:rPr lang="en-US" noProof="0"/>
              <a:t>Click on the icon to insert a picture.</a:t>
            </a:r>
            <a:br>
              <a:rPr lang="en-US" noProof="0"/>
            </a:br>
            <a:r>
              <a:rPr lang="en-US" noProof="0"/>
              <a:t>Then click on “Reset slide” to put the picture in the background again.</a:t>
            </a:r>
          </a:p>
          <a:p>
            <a:endParaRPr lang="en-US" noProof="0"/>
          </a:p>
        </p:txBody>
      </p:sp>
      <p:sp>
        <p:nvSpPr>
          <p:cNvPr id="15" name="Textplatzhalter 8">
            <a:extLst>
              <a:ext uri="{FF2B5EF4-FFF2-40B4-BE49-F238E27FC236}">
                <a16:creationId xmlns:a16="http://schemas.microsoft.com/office/drawing/2014/main" id="{D72E71F3-1944-072C-CC39-9F84FC1E1122}"/>
              </a:ext>
            </a:extLst>
          </p:cNvPr>
          <p:cNvSpPr>
            <a:spLocks noGrp="1"/>
          </p:cNvSpPr>
          <p:nvPr>
            <p:ph type="body" sz="quarter" idx="16"/>
          </p:nvPr>
        </p:nvSpPr>
        <p:spPr>
          <a:xfrm>
            <a:off x="-1" y="2586600"/>
            <a:ext cx="9248400" cy="1684800"/>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buFontTx/>
              <a:buNone/>
              <a:defRPr sz="100">
                <a:solidFill>
                  <a:schemeClr val="bg1">
                    <a:alpha val="0"/>
                  </a:schemeClr>
                </a:solidFill>
              </a:defRPr>
            </a:lvl1pPr>
            <a:lvl2pPr marL="0" indent="0">
              <a:spcBef>
                <a:spcPts val="0"/>
              </a:spcBef>
              <a:buFontTx/>
              <a:buNone/>
              <a:defRPr sz="100">
                <a:solidFill>
                  <a:schemeClr val="bg1">
                    <a:alpha val="0"/>
                  </a:schemeClr>
                </a:solidFill>
              </a:defRPr>
            </a:lvl2pPr>
            <a:lvl3pPr marL="0" indent="0">
              <a:spcBef>
                <a:spcPts val="0"/>
              </a:spcBef>
              <a:buFontTx/>
              <a:buNone/>
              <a:defRPr sz="100">
                <a:solidFill>
                  <a:schemeClr val="bg1">
                    <a:alpha val="0"/>
                  </a:schemeClr>
                </a:solidFill>
              </a:defRPr>
            </a:lvl3pPr>
            <a:lvl4pPr marL="0" indent="0">
              <a:spcBef>
                <a:spcPts val="0"/>
              </a:spcBef>
              <a:buFontTx/>
              <a:buNone/>
              <a:defRPr sz="100">
                <a:solidFill>
                  <a:schemeClr val="bg1">
                    <a:alpha val="0"/>
                  </a:schemeClr>
                </a:solidFill>
              </a:defRPr>
            </a:lvl4pPr>
            <a:lvl5pPr marL="0" indent="0">
              <a:spcBef>
                <a:spcPts val="0"/>
              </a:spcBef>
              <a:buFontTx/>
              <a:buNone/>
              <a:defRPr sz="100">
                <a:solidFill>
                  <a:schemeClr val="bg1">
                    <a:alpha val="0"/>
                  </a:schemeClr>
                </a:solidFill>
              </a:defRPr>
            </a:lvl5pPr>
          </a:lstStyle>
          <a:p>
            <a:pPr lvl="0"/>
            <a:endParaRPr lang="en-US" noProof="0"/>
          </a:p>
        </p:txBody>
      </p:sp>
    </p:spTree>
    <p:extLst>
      <p:ext uri="{BB962C8B-B14F-4D97-AF65-F5344CB8AC3E}">
        <p14:creationId xmlns:p14="http://schemas.microsoft.com/office/powerpoint/2010/main" val="207812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Headline with text left, 1/2 side pictur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D0C2A8A-1D3F-AF99-86CC-4BFA6C3FEA5D}"/>
              </a:ext>
            </a:extLst>
          </p:cNvPr>
          <p:cNvSpPr>
            <a:spLocks noGrp="1"/>
          </p:cNvSpPr>
          <p:nvPr>
            <p:ph type="pic" sz="quarter" idx="14" hasCustomPrompt="1"/>
          </p:nvPr>
        </p:nvSpPr>
        <p:spPr>
          <a:xfrm>
            <a:off x="6096001" y="0"/>
            <a:ext cx="6096000" cy="6858000"/>
          </a:xfrm>
          <a:prstGeom prst="rect">
            <a:avLst/>
          </a:prstGeom>
        </p:spPr>
        <p:txBody>
          <a:bodyPr wrap="square" bIns="360000" anchor="ctr" anchorCtr="0">
            <a:noAutofit/>
          </a:bodyPr>
          <a:lstStyle>
            <a:lvl1pPr marL="0" indent="0" algn="ctr">
              <a:buNone/>
              <a:defRPr/>
            </a:lvl1pPr>
          </a:lstStyle>
          <a:p>
            <a:r>
              <a:rPr lang="en-US" noProof="0"/>
              <a:t>Click on the icon to insert a picture.</a:t>
            </a:r>
            <a:br>
              <a:rPr lang="en-US" noProof="0"/>
            </a:br>
            <a:r>
              <a:rPr lang="en-US" noProof="0"/>
              <a:t>Then click on “Reset slide” to put the picture</a:t>
            </a:r>
            <a:br>
              <a:rPr lang="en-US" noProof="0"/>
            </a:br>
            <a:r>
              <a:rPr lang="en-US" noProof="0"/>
              <a:t>in the background again.</a:t>
            </a:r>
          </a:p>
        </p:txBody>
      </p:sp>
      <p:sp>
        <p:nvSpPr>
          <p:cNvPr id="2" name="Titel 1">
            <a:extLst>
              <a:ext uri="{FF2B5EF4-FFF2-40B4-BE49-F238E27FC236}">
                <a16:creationId xmlns:a16="http://schemas.microsoft.com/office/drawing/2014/main" id="{3B570CFC-19A3-4FC1-8679-96D023530C0F}"/>
              </a:ext>
            </a:extLst>
          </p:cNvPr>
          <p:cNvSpPr>
            <a:spLocks noGrp="1"/>
          </p:cNvSpPr>
          <p:nvPr>
            <p:ph type="title" hasCustomPrompt="1"/>
          </p:nvPr>
        </p:nvSpPr>
        <p:spPr>
          <a:xfrm>
            <a:off x="219600" y="432000"/>
            <a:ext cx="5704270" cy="853200"/>
          </a:xfrm>
        </p:spPr>
        <p:txBody>
          <a:bodyPr/>
          <a:lstStyle/>
          <a:p>
            <a:r>
              <a:rPr lang="en-US" noProof="0"/>
              <a:t>Edit headline</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hasCustomPrompt="1"/>
          </p:nvPr>
        </p:nvSpPr>
        <p:spPr>
          <a:xfrm>
            <a:off x="212343" y="1773238"/>
            <a:ext cx="5704270" cy="3779578"/>
          </a:xfrm>
        </p:spPr>
        <p:txBody>
          <a:bodyPr/>
          <a:lstStyle/>
          <a:p>
            <a:pPr lvl="0"/>
            <a:r>
              <a:rPr lang="en-US" noProof="0"/>
              <a:t>First text level</a:t>
            </a:r>
          </a:p>
          <a:p>
            <a:pPr lvl="1"/>
            <a:r>
              <a:rPr lang="en-US" noProof="0"/>
              <a:t>Second text level</a:t>
            </a:r>
          </a:p>
          <a:p>
            <a:pPr lvl="2"/>
            <a:r>
              <a:rPr lang="en-US" noProof="0"/>
              <a:t>Third text level</a:t>
            </a:r>
          </a:p>
          <a:p>
            <a:pPr lvl="3"/>
            <a:r>
              <a:rPr lang="en-US" noProof="0"/>
              <a:t>Fourth text level</a:t>
            </a:r>
          </a:p>
          <a:p>
            <a:pPr lvl="4"/>
            <a:r>
              <a:rPr lang="en-US" noProof="0"/>
              <a:t>Fifth text leve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a:xfrm>
            <a:off x="1368000" y="6516000"/>
            <a:ext cx="4548613" cy="169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10" name="Textplatzhalter 8">
            <a:extLst>
              <a:ext uri="{FF2B5EF4-FFF2-40B4-BE49-F238E27FC236}">
                <a16:creationId xmlns:a16="http://schemas.microsoft.com/office/drawing/2014/main" id="{EC0172CE-4F19-0D84-CE45-D873F839F426}"/>
              </a:ext>
            </a:extLst>
          </p:cNvPr>
          <p:cNvSpPr>
            <a:spLocks noGrp="1"/>
          </p:cNvSpPr>
          <p:nvPr>
            <p:ph type="body" sz="quarter" idx="16"/>
          </p:nvPr>
        </p:nvSpPr>
        <p:spPr>
          <a:xfrm>
            <a:off x="9600001" y="5768575"/>
            <a:ext cx="2592000" cy="864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buFontTx/>
              <a:buNone/>
              <a:defRPr sz="100">
                <a:solidFill>
                  <a:schemeClr val="bg1">
                    <a:alpha val="0"/>
                  </a:schemeClr>
                </a:solidFill>
              </a:defRPr>
            </a:lvl1pPr>
            <a:lvl2pPr marL="0" indent="0">
              <a:spcBef>
                <a:spcPts val="0"/>
              </a:spcBef>
              <a:buFontTx/>
              <a:buNone/>
              <a:defRPr sz="100">
                <a:solidFill>
                  <a:schemeClr val="bg1">
                    <a:alpha val="0"/>
                  </a:schemeClr>
                </a:solidFill>
              </a:defRPr>
            </a:lvl2pPr>
            <a:lvl3pPr marL="0" indent="0">
              <a:spcBef>
                <a:spcPts val="0"/>
              </a:spcBef>
              <a:buFontTx/>
              <a:buNone/>
              <a:defRPr sz="100">
                <a:solidFill>
                  <a:schemeClr val="bg1">
                    <a:alpha val="0"/>
                  </a:schemeClr>
                </a:solidFill>
              </a:defRPr>
            </a:lvl3pPr>
            <a:lvl4pPr marL="0" indent="0">
              <a:spcBef>
                <a:spcPts val="0"/>
              </a:spcBef>
              <a:buFontTx/>
              <a:buNone/>
              <a:defRPr sz="100">
                <a:solidFill>
                  <a:schemeClr val="bg1">
                    <a:alpha val="0"/>
                  </a:schemeClr>
                </a:solidFill>
              </a:defRPr>
            </a:lvl4pPr>
            <a:lvl5pPr marL="0" indent="0">
              <a:spcBef>
                <a:spcPts val="0"/>
              </a:spcBef>
              <a:buFontTx/>
              <a:buNone/>
              <a:defRPr sz="100">
                <a:solidFill>
                  <a:schemeClr val="bg1">
                    <a:alpha val="0"/>
                  </a:schemeClr>
                </a:solidFill>
              </a:defRPr>
            </a:lvl5pPr>
          </a:lstStyle>
          <a:p>
            <a:pPr lvl="0"/>
            <a:endParaRPr lang="en-US" noProof="0" dirty="0"/>
          </a:p>
        </p:txBody>
      </p:sp>
    </p:spTree>
    <p:extLst>
      <p:ext uri="{BB962C8B-B14F-4D97-AF65-F5344CB8AC3E}">
        <p14:creationId xmlns:p14="http://schemas.microsoft.com/office/powerpoint/2010/main" val="43799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with text right, 1/2 side picture">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2C80AB86-6E07-20C6-AD34-7DFB6BF3F827}"/>
              </a:ext>
            </a:extLst>
          </p:cNvPr>
          <p:cNvSpPr>
            <a:spLocks noGrp="1"/>
          </p:cNvSpPr>
          <p:nvPr>
            <p:ph type="pic" sz="quarter" idx="14" hasCustomPrompt="1"/>
          </p:nvPr>
        </p:nvSpPr>
        <p:spPr>
          <a:xfrm>
            <a:off x="0" y="0"/>
            <a:ext cx="6096000" cy="6858000"/>
          </a:xfrm>
        </p:spPr>
        <p:txBody>
          <a:bodyPr/>
          <a:lstStyle>
            <a:lvl1pPr marL="0" indent="0">
              <a:buNone/>
              <a:defRPr/>
            </a:lvl1pPr>
          </a:lstStyle>
          <a:p>
            <a:r>
              <a:rPr lang="en-US" noProof="0"/>
              <a:t>Click on the icon to insert a picture</a:t>
            </a:r>
          </a:p>
          <a:p>
            <a:endParaRPr lang="en-US" noProof="0"/>
          </a:p>
        </p:txBody>
      </p:sp>
      <p:sp>
        <p:nvSpPr>
          <p:cNvPr id="2" name="Titel 1">
            <a:extLst>
              <a:ext uri="{FF2B5EF4-FFF2-40B4-BE49-F238E27FC236}">
                <a16:creationId xmlns:a16="http://schemas.microsoft.com/office/drawing/2014/main" id="{3B570CFC-19A3-4FC1-8679-96D023530C0F}"/>
              </a:ext>
            </a:extLst>
          </p:cNvPr>
          <p:cNvSpPr>
            <a:spLocks noGrp="1"/>
          </p:cNvSpPr>
          <p:nvPr>
            <p:ph type="title" hasCustomPrompt="1"/>
          </p:nvPr>
        </p:nvSpPr>
        <p:spPr>
          <a:xfrm>
            <a:off x="6282645" y="432000"/>
            <a:ext cx="5704270" cy="853200"/>
          </a:xfrm>
        </p:spPr>
        <p:txBody>
          <a:bodyPr/>
          <a:lstStyle/>
          <a:p>
            <a:r>
              <a:rPr lang="en-US" noProof="0"/>
              <a:t>Edit headline</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hasCustomPrompt="1"/>
          </p:nvPr>
        </p:nvSpPr>
        <p:spPr>
          <a:xfrm>
            <a:off x="6275388" y="1772816"/>
            <a:ext cx="5688012" cy="3780000"/>
          </a:xfrm>
        </p:spPr>
        <p:txBody>
          <a:bodyPr/>
          <a:lstStyle/>
          <a:p>
            <a:pPr lvl="0"/>
            <a:r>
              <a:rPr lang="en-US" noProof="0"/>
              <a:t>First text level</a:t>
            </a:r>
          </a:p>
          <a:p>
            <a:pPr lvl="1"/>
            <a:r>
              <a:rPr lang="en-US" noProof="0"/>
              <a:t>Second text level</a:t>
            </a:r>
          </a:p>
          <a:p>
            <a:pPr lvl="2"/>
            <a:r>
              <a:rPr lang="en-US" noProof="0"/>
              <a:t>Third text level</a:t>
            </a:r>
          </a:p>
          <a:p>
            <a:pPr lvl="3"/>
            <a:r>
              <a:rPr lang="en-US" noProof="0"/>
              <a:t>Fourth text level</a:t>
            </a:r>
          </a:p>
          <a:p>
            <a:pPr lvl="4"/>
            <a:r>
              <a:rPr lang="en-US" noProof="0"/>
              <a:t>Fifth text leve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a:xfrm>
            <a:off x="1368000" y="6516000"/>
            <a:ext cx="4548613" cy="169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83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 Pictures half-to-half">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3E4DA44-9799-9F62-53A8-6583048862EF}"/>
              </a:ext>
            </a:extLst>
          </p:cNvPr>
          <p:cNvSpPr>
            <a:spLocks noGrp="1"/>
          </p:cNvSpPr>
          <p:nvPr>
            <p:ph type="pic" sz="quarter" idx="10" hasCustomPrompt="1"/>
          </p:nvPr>
        </p:nvSpPr>
        <p:spPr>
          <a:xfrm>
            <a:off x="6096000" y="0"/>
            <a:ext cx="6096000" cy="6858000"/>
          </a:xfrm>
          <a:prstGeom prst="rect">
            <a:avLst/>
          </a:prstGeom>
        </p:spPr>
        <p:txBody>
          <a:bodyPr wrap="square">
            <a:noAutofit/>
          </a:bodyPr>
          <a:lstStyle>
            <a:lvl1pPr marL="0" indent="0" algn="ctr">
              <a:buNone/>
              <a:defRPr/>
            </a:lvl1pPr>
          </a:lstStyle>
          <a:p>
            <a:pPr marL="0" marR="0" lvl="0" indent="0" algn="ctr"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noProof="0"/>
              <a:t>Click on the icon to insert a picture.</a:t>
            </a:r>
            <a:br>
              <a:rPr lang="en-US" noProof="0"/>
            </a:br>
            <a:r>
              <a:rPr lang="en-US" noProof="0"/>
              <a:t>Then click on “Reset slide” to put the picture</a:t>
            </a:r>
            <a:br>
              <a:rPr lang="en-US" noProof="0"/>
            </a:br>
            <a:r>
              <a:rPr lang="en-US" noProof="0"/>
              <a:t>in the background again.</a:t>
            </a:r>
          </a:p>
        </p:txBody>
      </p:sp>
      <p:sp>
        <p:nvSpPr>
          <p:cNvPr id="4" name="Bildplatzhalter 2">
            <a:extLst>
              <a:ext uri="{FF2B5EF4-FFF2-40B4-BE49-F238E27FC236}">
                <a16:creationId xmlns:a16="http://schemas.microsoft.com/office/drawing/2014/main" id="{8F01BCE3-11AE-B88A-2934-9A5DCB57D3B3}"/>
              </a:ext>
            </a:extLst>
          </p:cNvPr>
          <p:cNvSpPr>
            <a:spLocks noGrp="1"/>
          </p:cNvSpPr>
          <p:nvPr>
            <p:ph type="pic" sz="quarter" idx="11" hasCustomPrompt="1"/>
          </p:nvPr>
        </p:nvSpPr>
        <p:spPr>
          <a:xfrm>
            <a:off x="0" y="0"/>
            <a:ext cx="6096000" cy="6858000"/>
          </a:xfrm>
        </p:spPr>
        <p:txBody>
          <a:bodyPr/>
          <a:lstStyle>
            <a:lvl1pPr marL="0" indent="0" algn="ctr">
              <a:buNone/>
              <a:defRPr/>
            </a:lvl1pPr>
          </a:lstStyle>
          <a:p>
            <a:r>
              <a:rPr lang="en-US" noProof="0"/>
              <a:t>Click on the icon to insert a picture</a:t>
            </a:r>
          </a:p>
        </p:txBody>
      </p:sp>
      <p:sp>
        <p:nvSpPr>
          <p:cNvPr id="5" name="Textplatzhalter 8">
            <a:extLst>
              <a:ext uri="{FF2B5EF4-FFF2-40B4-BE49-F238E27FC236}">
                <a16:creationId xmlns:a16="http://schemas.microsoft.com/office/drawing/2014/main" id="{666A2798-4FA7-1996-8151-5EAF6A55182A}"/>
              </a:ext>
            </a:extLst>
          </p:cNvPr>
          <p:cNvSpPr>
            <a:spLocks noGrp="1"/>
          </p:cNvSpPr>
          <p:nvPr>
            <p:ph type="body" sz="quarter" idx="16"/>
          </p:nvPr>
        </p:nvSpPr>
        <p:spPr>
          <a:xfrm>
            <a:off x="9600001" y="5768575"/>
            <a:ext cx="2592000" cy="864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buFontTx/>
              <a:buNone/>
              <a:defRPr sz="100">
                <a:solidFill>
                  <a:schemeClr val="bg1">
                    <a:alpha val="0"/>
                  </a:schemeClr>
                </a:solidFill>
              </a:defRPr>
            </a:lvl1pPr>
            <a:lvl2pPr marL="0" indent="0">
              <a:spcBef>
                <a:spcPts val="0"/>
              </a:spcBef>
              <a:buFontTx/>
              <a:buNone/>
              <a:defRPr sz="100">
                <a:solidFill>
                  <a:schemeClr val="bg1">
                    <a:alpha val="0"/>
                  </a:schemeClr>
                </a:solidFill>
              </a:defRPr>
            </a:lvl2pPr>
            <a:lvl3pPr marL="0" indent="0">
              <a:spcBef>
                <a:spcPts val="0"/>
              </a:spcBef>
              <a:buFontTx/>
              <a:buNone/>
              <a:defRPr sz="100">
                <a:solidFill>
                  <a:schemeClr val="bg1">
                    <a:alpha val="0"/>
                  </a:schemeClr>
                </a:solidFill>
              </a:defRPr>
            </a:lvl3pPr>
            <a:lvl4pPr marL="0" indent="0">
              <a:spcBef>
                <a:spcPts val="0"/>
              </a:spcBef>
              <a:buFontTx/>
              <a:buNone/>
              <a:defRPr sz="100">
                <a:solidFill>
                  <a:schemeClr val="bg1">
                    <a:alpha val="0"/>
                  </a:schemeClr>
                </a:solidFill>
              </a:defRPr>
            </a:lvl4pPr>
            <a:lvl5pPr marL="0" indent="0">
              <a:spcBef>
                <a:spcPts val="0"/>
              </a:spcBef>
              <a:buFontTx/>
              <a:buNone/>
              <a:defRPr sz="100">
                <a:solidFill>
                  <a:schemeClr val="bg1">
                    <a:alpha val="0"/>
                  </a:schemeClr>
                </a:solidFill>
              </a:defRPr>
            </a:lvl5pPr>
          </a:lstStyle>
          <a:p>
            <a:pPr lvl="0"/>
            <a:endParaRPr lang="en-US" noProof="0"/>
          </a:p>
        </p:txBody>
      </p:sp>
      <p:sp>
        <p:nvSpPr>
          <p:cNvPr id="7" name="Fußzeilenplatzhalter 2">
            <a:extLst>
              <a:ext uri="{FF2B5EF4-FFF2-40B4-BE49-F238E27FC236}">
                <a16:creationId xmlns:a16="http://schemas.microsoft.com/office/drawing/2014/main" id="{0A944237-4BF3-9FCC-CFD8-834A8C4DCDED}"/>
              </a:ext>
            </a:extLst>
          </p:cNvPr>
          <p:cNvSpPr>
            <a:spLocks noGrp="1"/>
          </p:cNvSpPr>
          <p:nvPr>
            <p:ph type="ftr" sz="quarter" idx="17"/>
          </p:nvPr>
        </p:nvSpPr>
        <p:spPr>
          <a:xfrm>
            <a:off x="1368000" y="6516000"/>
            <a:ext cx="7920000" cy="169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Datumsplatzhalter 3">
            <a:extLst>
              <a:ext uri="{FF2B5EF4-FFF2-40B4-BE49-F238E27FC236}">
                <a16:creationId xmlns:a16="http://schemas.microsoft.com/office/drawing/2014/main" id="{3FE76EDC-3E5F-BBB4-4345-E8B009E9F191}"/>
              </a:ext>
            </a:extLst>
          </p:cNvPr>
          <p:cNvSpPr>
            <a:spLocks noGrp="1"/>
          </p:cNvSpPr>
          <p:nvPr>
            <p:ph type="dt" sz="half" idx="18"/>
          </p:nvPr>
        </p:nvSpPr>
        <p:spPr>
          <a:xfrm>
            <a:off x="687600" y="6516000"/>
            <a:ext cx="468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9" name="Foliennummernplatzhalter 4">
            <a:extLst>
              <a:ext uri="{FF2B5EF4-FFF2-40B4-BE49-F238E27FC236}">
                <a16:creationId xmlns:a16="http://schemas.microsoft.com/office/drawing/2014/main" id="{1873CBE9-50FF-09AE-60B3-73DA237458E8}"/>
              </a:ext>
            </a:extLst>
          </p:cNvPr>
          <p:cNvSpPr>
            <a:spLocks noGrp="1"/>
          </p:cNvSpPr>
          <p:nvPr>
            <p:ph type="sldNum" sz="quarter" idx="12"/>
          </p:nvPr>
        </p:nvSpPr>
        <p:spPr>
          <a:xfrm>
            <a:off x="226800" y="6516000"/>
            <a:ext cx="360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2558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7" name="Datumsplatzhalter 5">
            <a:extLst>
              <a:ext uri="{FF2B5EF4-FFF2-40B4-BE49-F238E27FC236}">
                <a16:creationId xmlns:a16="http://schemas.microsoft.com/office/drawing/2014/main" id="{E6D135D1-47B1-4DB6-993F-49D4B260300C}"/>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ußzeilenplatzhalter 6">
            <a:extLst>
              <a:ext uri="{FF2B5EF4-FFF2-40B4-BE49-F238E27FC236}">
                <a16:creationId xmlns:a16="http://schemas.microsoft.com/office/drawing/2014/main" id="{F253D08C-15C0-4E03-B579-BF15B922752C}"/>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oliennummernplatzhalter 7">
            <a:extLst>
              <a:ext uri="{FF2B5EF4-FFF2-40B4-BE49-F238E27FC236}">
                <a16:creationId xmlns:a16="http://schemas.microsoft.com/office/drawing/2014/main" id="{24ECFC98-7F84-4AE4-9E8A-74583DFAC278}"/>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itelplatzhalter 4">
            <a:extLst>
              <a:ext uri="{FF2B5EF4-FFF2-40B4-BE49-F238E27FC236}">
                <a16:creationId xmlns:a16="http://schemas.microsoft.com/office/drawing/2014/main" id="{1FB7291B-6199-4BA2-BAC7-53D8CF2193F2}"/>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Tree>
    <p:extLst>
      <p:ext uri="{BB962C8B-B14F-4D97-AF65-F5344CB8AC3E}">
        <p14:creationId xmlns:p14="http://schemas.microsoft.com/office/powerpoint/2010/main" val="3383171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Head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hasCustomPrompt="1"/>
          </p:nvPr>
        </p:nvSpPr>
        <p:spPr/>
        <p:txBody>
          <a:bodyPr/>
          <a:lstStyle/>
          <a:p>
            <a:r>
              <a:rPr lang="en-US" noProof="0"/>
              <a:t>Edit headline</a:t>
            </a:r>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4463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7019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ryout title 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9A8170C3-A51F-FB98-E18F-C4F908A68676}"/>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sp>
        <p:nvSpPr>
          <p:cNvPr id="6" name="Bildplatzhalter 5">
            <a:extLst>
              <a:ext uri="{FF2B5EF4-FFF2-40B4-BE49-F238E27FC236}">
                <a16:creationId xmlns:a16="http://schemas.microsoft.com/office/drawing/2014/main" id="{873A7D05-24B9-51E2-6045-F36E7106D491}"/>
              </a:ext>
            </a:extLst>
          </p:cNvPr>
          <p:cNvSpPr>
            <a:spLocks noGrp="1"/>
          </p:cNvSpPr>
          <p:nvPr>
            <p:ph type="pic" sz="quarter" idx="10" hasCustomPrompt="1"/>
          </p:nvPr>
        </p:nvSpPr>
        <p:spPr>
          <a:xfrm>
            <a:off x="6096000" y="0"/>
            <a:ext cx="6096000" cy="6858000"/>
          </a:xfrm>
          <a:pattFill prst="pct5">
            <a:fgClr>
              <a:schemeClr val="accent1"/>
            </a:fgClr>
            <a:bgClr>
              <a:schemeClr val="bg1"/>
            </a:bgClr>
          </a:pattFill>
        </p:spPr>
        <p:txBody>
          <a:bodyPr anchor="ctr" anchorCtr="0"/>
          <a:lstStyle>
            <a:lvl1pPr marL="0" indent="0" algn="ctr">
              <a:buNone/>
              <a:defRPr>
                <a:latin typeface="+mn-lt"/>
              </a:defRPr>
            </a:lvl1pPr>
          </a:lstStyle>
          <a:p>
            <a:r>
              <a:rPr lang="en-US" noProof="0"/>
              <a:t>Click on the icon to insert a picture.</a:t>
            </a:r>
            <a:br>
              <a:rPr lang="en-US" noProof="0"/>
            </a:br>
            <a:r>
              <a:rPr lang="en-US" noProof="0"/>
              <a:t>Then click on “Reset slide” to put the picture</a:t>
            </a:r>
            <a:br>
              <a:rPr lang="en-US" noProof="0"/>
            </a:br>
            <a:r>
              <a:rPr lang="en-US" noProof="0"/>
              <a:t>in the background again.</a:t>
            </a:r>
          </a:p>
        </p:txBody>
      </p:sp>
      <p:sp>
        <p:nvSpPr>
          <p:cNvPr id="26" name="Textplatzhalter 25">
            <a:extLst>
              <a:ext uri="{FF2B5EF4-FFF2-40B4-BE49-F238E27FC236}">
                <a16:creationId xmlns:a16="http://schemas.microsoft.com/office/drawing/2014/main" id="{F4C58FC9-82E0-FB1A-DAC7-F4FAD9598B97}"/>
              </a:ext>
            </a:extLst>
          </p:cNvPr>
          <p:cNvSpPr>
            <a:spLocks noGrp="1"/>
          </p:cNvSpPr>
          <p:nvPr>
            <p:ph type="body" sz="quarter" idx="13" hasCustomPrompt="1"/>
          </p:nvPr>
        </p:nvSpPr>
        <p:spPr>
          <a:xfrm>
            <a:off x="228600" y="1783739"/>
            <a:ext cx="5688013" cy="1014182"/>
          </a:xfrm>
        </p:spPr>
        <p:txBody>
          <a:bodyPr anchor="b" anchorCtr="0"/>
          <a:lstStyle>
            <a:lvl1pPr marL="0" indent="0">
              <a:buNone/>
              <a:defRPr sz="3200" b="1">
                <a:solidFill>
                  <a:schemeClr val="bg1"/>
                </a:solidFill>
                <a:latin typeface="+mn-lt"/>
              </a:defRPr>
            </a:lvl1pPr>
            <a:lvl2pPr marL="356400" indent="0">
              <a:buNone/>
              <a:defRPr/>
            </a:lvl2pPr>
            <a:lvl3pPr marL="622800" indent="0">
              <a:buNone/>
              <a:defRPr/>
            </a:lvl3pPr>
            <a:lvl4pPr marL="900000" indent="0">
              <a:buNone/>
              <a:defRPr/>
            </a:lvl4pPr>
            <a:lvl5pPr marL="1357200" indent="0">
              <a:buNone/>
              <a:defRPr/>
            </a:lvl5pPr>
          </a:lstStyle>
          <a:p>
            <a:pPr lvl="0"/>
            <a:r>
              <a:rPr lang="en-US" noProof="0"/>
              <a:t>Title of presentation, possibly with two rows</a:t>
            </a:r>
          </a:p>
        </p:txBody>
      </p:sp>
      <p:sp>
        <p:nvSpPr>
          <p:cNvPr id="28" name="Textplatzhalter 27">
            <a:extLst>
              <a:ext uri="{FF2B5EF4-FFF2-40B4-BE49-F238E27FC236}">
                <a16:creationId xmlns:a16="http://schemas.microsoft.com/office/drawing/2014/main" id="{0F25068C-025C-ABDD-202C-385FF40D6811}"/>
              </a:ext>
            </a:extLst>
          </p:cNvPr>
          <p:cNvSpPr>
            <a:spLocks noGrp="1"/>
          </p:cNvSpPr>
          <p:nvPr>
            <p:ph type="body" sz="quarter" idx="14" hasCustomPrompt="1"/>
          </p:nvPr>
        </p:nvSpPr>
        <p:spPr>
          <a:xfrm>
            <a:off x="228600" y="2963709"/>
            <a:ext cx="5688013" cy="444480"/>
          </a:xfrm>
        </p:spPr>
        <p:txBody>
          <a:bodyPr/>
          <a:lstStyle>
            <a:lvl1pPr marL="0" indent="0">
              <a:spcBef>
                <a:spcPts val="0"/>
              </a:spcBef>
              <a:buNone/>
              <a:defRPr sz="2400">
                <a:solidFill>
                  <a:schemeClr val="bg1"/>
                </a:solidFill>
                <a:latin typeface="+mn-lt"/>
              </a:defRPr>
            </a:lvl1pPr>
            <a:lvl2pPr marL="0" indent="0">
              <a:spcBef>
                <a:spcPts val="0"/>
              </a:spcBef>
              <a:buNone/>
              <a:defRPr sz="2400">
                <a:solidFill>
                  <a:schemeClr val="bg1"/>
                </a:solidFill>
                <a:latin typeface="+mn-lt"/>
              </a:defRPr>
            </a:lvl2pPr>
            <a:lvl3pPr marL="0" indent="0">
              <a:spcBef>
                <a:spcPts val="0"/>
              </a:spcBef>
              <a:buNone/>
              <a:defRPr sz="2400">
                <a:solidFill>
                  <a:schemeClr val="bg1"/>
                </a:solidFill>
                <a:latin typeface="+mn-lt"/>
              </a:defRPr>
            </a:lvl3pPr>
            <a:lvl4pPr marL="0" indent="0">
              <a:spcBef>
                <a:spcPts val="0"/>
              </a:spcBef>
              <a:buNone/>
              <a:defRPr sz="2400">
                <a:solidFill>
                  <a:schemeClr val="bg1"/>
                </a:solidFill>
                <a:latin typeface="+mn-lt"/>
              </a:defRPr>
            </a:lvl4pPr>
            <a:lvl5pPr marL="0" indent="0">
              <a:spcBef>
                <a:spcPts val="0"/>
              </a:spcBef>
              <a:buNone/>
              <a:defRPr sz="2400">
                <a:solidFill>
                  <a:schemeClr val="bg1"/>
                </a:solidFill>
              </a:defRPr>
            </a:lvl5pPr>
            <a:lvl6pPr marL="0" indent="0">
              <a:lnSpc>
                <a:spcPct val="100000"/>
              </a:lnSpc>
              <a:spcBef>
                <a:spcPts val="0"/>
              </a:spcBef>
              <a:buFontTx/>
              <a:buNone/>
              <a:defRPr sz="2400">
                <a:solidFill>
                  <a:schemeClr val="bg1"/>
                </a:solidFill>
                <a:latin typeface="+mn-lt"/>
              </a:defRPr>
            </a:lvl6pPr>
          </a:lstStyle>
          <a:p>
            <a:pPr lvl="0"/>
            <a:r>
              <a:rPr lang="en-US" noProof="0"/>
              <a:t>Subline of presentation</a:t>
            </a:r>
          </a:p>
        </p:txBody>
      </p:sp>
      <p:sp>
        <p:nvSpPr>
          <p:cNvPr id="30" name="Textplatzhalter 29">
            <a:extLst>
              <a:ext uri="{FF2B5EF4-FFF2-40B4-BE49-F238E27FC236}">
                <a16:creationId xmlns:a16="http://schemas.microsoft.com/office/drawing/2014/main" id="{A73F70F9-F81A-5654-549B-1D92398159A0}"/>
              </a:ext>
            </a:extLst>
          </p:cNvPr>
          <p:cNvSpPr>
            <a:spLocks noGrp="1"/>
          </p:cNvSpPr>
          <p:nvPr>
            <p:ph type="body" sz="quarter" idx="15" hasCustomPrompt="1"/>
          </p:nvPr>
        </p:nvSpPr>
        <p:spPr>
          <a:xfrm>
            <a:off x="228600" y="4122787"/>
            <a:ext cx="5688013" cy="1430288"/>
          </a:xfrm>
        </p:spPr>
        <p:txBody>
          <a:bodyPr anchor="t" anchorCtr="0"/>
          <a:lstStyle>
            <a:lvl1pPr marL="0" indent="0">
              <a:spcBef>
                <a:spcPts val="0"/>
              </a:spcBef>
              <a:buNone/>
              <a:defRPr>
                <a:solidFill>
                  <a:schemeClr val="bg1"/>
                </a:solidFill>
                <a:latin typeface="+mn-lt"/>
                <a:cs typeface="Arial" panose="020B0604020202020204" pitchFamily="34" charset="0"/>
              </a:defRPr>
            </a:lvl1pPr>
            <a:lvl2pPr marL="0" indent="0">
              <a:spcBef>
                <a:spcPts val="0"/>
              </a:spcBef>
              <a:buNone/>
              <a:defRPr>
                <a:solidFill>
                  <a:schemeClr val="bg1"/>
                </a:solidFill>
              </a:defRPr>
            </a:lvl2pPr>
            <a:lvl3pPr marL="0" indent="0">
              <a:spcBef>
                <a:spcPts val="0"/>
              </a:spcBef>
              <a:buNone/>
              <a:defRPr>
                <a:solidFill>
                  <a:schemeClr val="bg1"/>
                </a:solidFill>
              </a:defRPr>
            </a:lvl3pPr>
            <a:lvl4pPr marL="0" indent="0">
              <a:spcBef>
                <a:spcPts val="0"/>
              </a:spcBef>
              <a:buNone/>
              <a:defRPr>
                <a:solidFill>
                  <a:schemeClr val="bg1"/>
                </a:solidFill>
              </a:defRPr>
            </a:lvl4pPr>
            <a:lvl5pPr marL="0" indent="0">
              <a:spcBef>
                <a:spcPts val="0"/>
              </a:spcBef>
              <a:buNone/>
              <a:defRPr>
                <a:solidFill>
                  <a:schemeClr val="bg1"/>
                </a:solidFill>
              </a:defRPr>
            </a:lvl5pPr>
          </a:lstStyle>
          <a:p>
            <a:pPr lvl="0"/>
            <a:r>
              <a:rPr lang="en-US" noProof="0"/>
              <a:t>Date </a:t>
            </a:r>
            <a:r>
              <a:rPr lang="en-US" noProof="0">
                <a:latin typeface="Calibri" panose="020F0502020204030204" pitchFamily="34" charset="0"/>
                <a:ea typeface="Calibri" panose="020F0502020204030204" pitchFamily="34" charset="0"/>
                <a:cs typeface="Calibri" panose="020F0502020204030204" pitchFamily="34" charset="0"/>
              </a:rPr>
              <a:t>│ </a:t>
            </a:r>
            <a:r>
              <a:rPr lang="en-US" noProof="0"/>
              <a:t>Location</a:t>
            </a:r>
            <a:br>
              <a:rPr lang="en-US" noProof="0"/>
            </a:br>
            <a:r>
              <a:rPr lang="en-US" noProof="0"/>
              <a:t>Speaker</a:t>
            </a:r>
          </a:p>
        </p:txBody>
      </p:sp>
      <p:sp>
        <p:nvSpPr>
          <p:cNvPr id="10" name="Textplatzhalter 8">
            <a:extLst>
              <a:ext uri="{FF2B5EF4-FFF2-40B4-BE49-F238E27FC236}">
                <a16:creationId xmlns:a16="http://schemas.microsoft.com/office/drawing/2014/main" id="{82F02AA8-12A6-58BE-2F3F-05AEFD9A5948}"/>
              </a:ext>
            </a:extLst>
          </p:cNvPr>
          <p:cNvSpPr>
            <a:spLocks noGrp="1"/>
          </p:cNvSpPr>
          <p:nvPr>
            <p:ph type="body" sz="quarter" idx="16"/>
          </p:nvPr>
        </p:nvSpPr>
        <p:spPr>
          <a:xfrm>
            <a:off x="9240000" y="5229356"/>
            <a:ext cx="2952000" cy="1404000"/>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buFontTx/>
              <a:buNone/>
              <a:defRPr sz="100">
                <a:solidFill>
                  <a:schemeClr val="bg1">
                    <a:alpha val="0"/>
                  </a:schemeClr>
                </a:solidFill>
                <a:latin typeface="+mn-lt"/>
              </a:defRPr>
            </a:lvl1pPr>
            <a:lvl2pPr marL="0" indent="0">
              <a:spcBef>
                <a:spcPts val="0"/>
              </a:spcBef>
              <a:buFontTx/>
              <a:buNone/>
              <a:defRPr sz="100">
                <a:solidFill>
                  <a:schemeClr val="bg1">
                    <a:alpha val="0"/>
                  </a:schemeClr>
                </a:solidFill>
              </a:defRPr>
            </a:lvl2pPr>
            <a:lvl3pPr marL="0" indent="0">
              <a:spcBef>
                <a:spcPts val="0"/>
              </a:spcBef>
              <a:buFontTx/>
              <a:buNone/>
              <a:defRPr sz="100">
                <a:solidFill>
                  <a:schemeClr val="bg1">
                    <a:alpha val="0"/>
                  </a:schemeClr>
                </a:solidFill>
              </a:defRPr>
            </a:lvl3pPr>
            <a:lvl4pPr marL="0" indent="0">
              <a:spcBef>
                <a:spcPts val="0"/>
              </a:spcBef>
              <a:buFontTx/>
              <a:buNone/>
              <a:defRPr sz="100">
                <a:solidFill>
                  <a:schemeClr val="bg1">
                    <a:alpha val="0"/>
                  </a:schemeClr>
                </a:solidFill>
              </a:defRPr>
            </a:lvl4pPr>
            <a:lvl5pPr marL="0" indent="0">
              <a:spcBef>
                <a:spcPts val="0"/>
              </a:spcBef>
              <a:buFontTx/>
              <a:buNone/>
              <a:defRPr sz="100">
                <a:solidFill>
                  <a:schemeClr val="bg1">
                    <a:alpha val="0"/>
                  </a:schemeClr>
                </a:solidFill>
              </a:defRPr>
            </a:lvl5pPr>
          </a:lstStyle>
          <a:p>
            <a:pPr lvl="0"/>
            <a:endParaRPr lang="en-US" noProof="0"/>
          </a:p>
        </p:txBody>
      </p:sp>
    </p:spTree>
    <p:extLst>
      <p:ext uri="{BB962C8B-B14F-4D97-AF65-F5344CB8AC3E}">
        <p14:creationId xmlns:p14="http://schemas.microsoft.com/office/powerpoint/2010/main" val="361748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heme" Target="../theme/theme2.xml"/><Relationship Id="rId5" Type="http://schemas.openxmlformats.org/officeDocument/2006/relationships/image" Target="../media/image9.png"/><Relationship Id="rId4"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2F0C832-FC43-8443-0F8E-5C207B3B6ECC}"/>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416" imgH="416" progId="TCLayout.ActiveDocument.1">
                  <p:embed/>
                </p:oleObj>
              </mc:Choice>
              <mc:Fallback>
                <p:oleObj name="think-cell Folie" r:id="rId16" imgW="416" imgH="416" progId="TCLayout.ActiveDocument.1">
                  <p:embed/>
                  <p:pic>
                    <p:nvPicPr>
                      <p:cNvPr id="8" name="think-cell data - do not delete" hidden="1">
                        <a:extLst>
                          <a:ext uri="{FF2B5EF4-FFF2-40B4-BE49-F238E27FC236}">
                            <a16:creationId xmlns:a16="http://schemas.microsoft.com/office/drawing/2014/main" id="{92F0C832-FC43-8443-0F8E-5C207B3B6EC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a:defRPr/>
            </a:pPr>
            <a:endParaRPr lang="en-US">
              <a:solidFill>
                <a:srgbClr val="000000"/>
              </a:solidFil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a:defRPr/>
            </a:pPr>
            <a:endParaRPr lang="en-US">
              <a:solidFill>
                <a:srgbClr val="000000"/>
              </a:solidFil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a:defRPr/>
            </a:pPr>
            <a:fld id="{D7C0CCF7-DF53-4ADB-AAD8-9742C01AD446}" type="slidenum">
              <a:rPr lang="en-US" smtClean="0">
                <a:solidFill>
                  <a:srgbClr val="000000"/>
                </a:solidFill>
              </a:rPr>
              <a:pPr>
                <a:defRPr/>
              </a:pPr>
              <a:t>‹Nr.›</a:t>
            </a:fld>
            <a:endParaRPr lang="en-US">
              <a:solidFill>
                <a:srgbClr val="000000"/>
              </a:solidFill>
            </a:endParaRPr>
          </a:p>
        </p:txBody>
      </p:sp>
      <p:sp>
        <p:nvSpPr>
          <p:cNvPr id="3" name="Textplatzhalter 2"/>
          <p:cNvSpPr>
            <a:spLocks noGrp="1"/>
          </p:cNvSpPr>
          <p:nvPr>
            <p:ph type="body" idx="1"/>
          </p:nvPr>
        </p:nvSpPr>
        <p:spPr>
          <a:xfrm>
            <a:off x="210652" y="1773238"/>
            <a:ext cx="11754000" cy="3779837"/>
          </a:xfrm>
          <a:prstGeom prst="rect">
            <a:avLst/>
          </a:prstGeom>
        </p:spPr>
        <p:txBody>
          <a:bodyPr vert="horz" lIns="0" tIns="0" rIns="0" bIns="0" rtlCol="0" anchor="t">
            <a:noAutofit/>
          </a:bodyPr>
          <a:lstStyle/>
          <a:p>
            <a:pPr lvl="0"/>
            <a:r>
              <a:rPr lang="en-US" noProof="0"/>
              <a:t>First text level</a:t>
            </a:r>
          </a:p>
          <a:p>
            <a:pPr lvl="1"/>
            <a:r>
              <a:rPr lang="en-US" noProof="0"/>
              <a:t>Second text level</a:t>
            </a:r>
          </a:p>
          <a:p>
            <a:pPr lvl="2"/>
            <a:r>
              <a:rPr lang="en-US" noProof="0"/>
              <a:t>Third text level</a:t>
            </a:r>
          </a:p>
          <a:p>
            <a:pPr lvl="3"/>
            <a:r>
              <a:rPr lang="en-US" noProof="0"/>
              <a:t>Fourth text level</a:t>
            </a:r>
          </a:p>
          <a:p>
            <a:pPr lvl="4"/>
            <a:r>
              <a:rPr lang="en-US" noProof="0"/>
              <a:t>Fifth text level</a:t>
            </a:r>
          </a:p>
          <a:p>
            <a:pPr lvl="5"/>
            <a:r>
              <a:rPr lang="en-US" noProof="0"/>
              <a:t>Sixth text level</a:t>
            </a:r>
          </a:p>
          <a:p>
            <a:pPr lvl="6"/>
            <a:r>
              <a:rPr lang="en-US" noProof="0"/>
              <a:t>Seventh text level</a:t>
            </a:r>
          </a:p>
          <a:p>
            <a:pPr lvl="8"/>
            <a:r>
              <a:rPr lang="en-US" noProof="0"/>
              <a:t>Eighth text level</a:t>
            </a:r>
          </a:p>
          <a:p>
            <a:pPr marL="3184413" marR="0" lvl="8" indent="-269875"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n"/>
              <a:tabLst/>
              <a:defRPr/>
            </a:pPr>
            <a:endParaRPr lang="en-US" noProof="0"/>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en-US" noProof="0"/>
              <a:t>Edit headline</a:t>
            </a:r>
          </a:p>
        </p:txBody>
      </p:sp>
      <p:pic>
        <p:nvPicPr>
          <p:cNvPr id="19" name="Grafik 18" descr="Ein Bild, das Text, Screenshot, Schrift, Electric Blue (Farbe) enthält.&#10;&#10;Automatisch generierte Beschreibung">
            <a:extLst>
              <a:ext uri="{FF2B5EF4-FFF2-40B4-BE49-F238E27FC236}">
                <a16:creationId xmlns:a16="http://schemas.microsoft.com/office/drawing/2014/main" id="{A6291092-0C06-9EFE-29F1-3435FF868071}"/>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9600001" y="5769591"/>
            <a:ext cx="2592000" cy="862984"/>
          </a:xfrm>
          <a:prstGeom prst="rect">
            <a:avLst/>
          </a:prstGeom>
        </p:spPr>
      </p:pic>
    </p:spTree>
    <p:extLst>
      <p:ext uri="{BB962C8B-B14F-4D97-AF65-F5344CB8AC3E}">
        <p14:creationId xmlns:p14="http://schemas.microsoft.com/office/powerpoint/2010/main" val="1009940733"/>
      </p:ext>
    </p:extLst>
  </p:cSld>
  <p:clrMap bg1="lt1" tx1="dk1" bg2="lt2" tx2="dk2" accent1="accent1" accent2="accent2" accent3="accent3" accent4="accent4" accent5="accent5" accent6="accent6" hlink="hlink" folHlink="folHlink"/>
  <p:sldLayoutIdLst>
    <p:sldLayoutId id="2147483749" r:id="rId1"/>
    <p:sldLayoutId id="2147483744" r:id="rId2"/>
    <p:sldLayoutId id="2147483735" r:id="rId3"/>
    <p:sldLayoutId id="2147483736" r:id="rId4"/>
    <p:sldLayoutId id="2147483737" r:id="rId5"/>
    <p:sldLayoutId id="2147483821" r:id="rId6"/>
    <p:sldLayoutId id="2147483706" r:id="rId7"/>
    <p:sldLayoutId id="2147483707" r:id="rId8"/>
    <p:sldLayoutId id="2147483693" r:id="rId9"/>
    <p:sldLayoutId id="2147483822" r:id="rId10"/>
    <p:sldLayoutId id="2147483823" r:id="rId11"/>
    <p:sldLayoutId id="2147483830" r:id="rId12"/>
    <p:sldLayoutId id="214748383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mn-lt"/>
          <a:ea typeface="+mj-ea"/>
          <a:cs typeface="+mj-cs"/>
        </a:defRPr>
      </a:lvl1pPr>
    </p:titleStyle>
    <p:bodyStyle>
      <a:lvl1pPr marL="339725" indent="-33972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714375" indent="-3571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1076325" indent="-361950" algn="l" defTabSz="89535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438275" indent="-36195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8275" indent="-36195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defRPr sz="2000" b="0" i="0" kern="1200" baseline="0">
          <a:solidFill>
            <a:schemeClr val="tx1"/>
          </a:solidFill>
          <a:latin typeface="+mn-lt"/>
          <a:ea typeface="+mn-ea"/>
          <a:cs typeface="+mn-cs"/>
        </a:defRPr>
      </a:lvl6pPr>
      <a:lvl7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defRPr sz="2000" b="0" i="0" kern="1200" baseline="0">
          <a:solidFill>
            <a:schemeClr val="tx1"/>
          </a:solidFill>
          <a:latin typeface="+mn-lt"/>
          <a:ea typeface="+mn-ea"/>
          <a:cs typeface="+mn-cs"/>
        </a:defRPr>
      </a:lvl7pPr>
      <a:lvl8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tabLst/>
        <a:defRPr sz="2000" b="0" i="0" kern="1200" baseline="0">
          <a:solidFill>
            <a:schemeClr val="tx1"/>
          </a:solidFill>
          <a:latin typeface="+mn-lt"/>
          <a:ea typeface="+mn-ea"/>
          <a:cs typeface="+mn-cs"/>
        </a:defRPr>
      </a:lvl8pPr>
      <a:lvl9pPr marL="1436688" indent="-361950" algn="l" defTabSz="914400" rtl="0" eaLnBrk="1" latinLnBrk="0" hangingPunct="1">
        <a:lnSpc>
          <a:spcPct val="95000"/>
        </a:lnSpc>
        <a:spcBef>
          <a:spcPts val="600"/>
        </a:spcBef>
        <a:buClr>
          <a:schemeClr val="accent1"/>
        </a:buClr>
        <a:buFont typeface="Wingdings" panose="05000000000000000000" pitchFamily="2" charset="2"/>
        <a:buChar char="n"/>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userDrawn="1">
          <p15:clr>
            <a:srgbClr val="F26B43"/>
          </p15:clr>
        </p15:guide>
        <p15:guide id="2" orient="horz" pos="4178" userDrawn="1">
          <p15:clr>
            <a:srgbClr val="F26B43"/>
          </p15:clr>
        </p15:guide>
        <p15:guide id="3" orient="horz" pos="3498" userDrawn="1">
          <p15:clr>
            <a:srgbClr val="F26B43"/>
          </p15:clr>
        </p15:guide>
        <p15:guide id="4" orient="horz" pos="1117" userDrawn="1">
          <p15:clr>
            <a:srgbClr val="F26B43"/>
          </p15:clr>
        </p15:guide>
        <p15:guide id="5" pos="144" userDrawn="1">
          <p15:clr>
            <a:srgbClr val="F26B43"/>
          </p15:clr>
        </p15:guide>
        <p15:guide id="6" orient="horz" pos="3634" userDrawn="1">
          <p15:clr>
            <a:srgbClr val="F26B43"/>
          </p15:clr>
        </p15:guide>
        <p15:guide id="7" pos="3840" userDrawn="1">
          <p15:clr>
            <a:srgbClr val="F26B43"/>
          </p15:clr>
        </p15:guide>
        <p15:guide id="8" pos="3727" userDrawn="1">
          <p15:clr>
            <a:srgbClr val="F26B43"/>
          </p15:clr>
        </p15:guide>
        <p15:guide id="9" pos="3953" userDrawn="1">
          <p15:clr>
            <a:srgbClr val="F26B43"/>
          </p15:clr>
        </p15:guide>
        <p15:guide id="10" orient="horz" pos="48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2B77F41-E571-9BD1-22EB-0388E89E2C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2" name="think-cell data - do not delete" hidden="1">
                        <a:extLst>
                          <a:ext uri="{FF2B5EF4-FFF2-40B4-BE49-F238E27FC236}">
                            <a16:creationId xmlns:a16="http://schemas.microsoft.com/office/drawing/2014/main" id="{72B77F41-E571-9BD1-22EB-0388E89E2C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Textplatzhalter 2"/>
          <p:cNvSpPr>
            <a:spLocks noGrp="1"/>
          </p:cNvSpPr>
          <p:nvPr>
            <p:ph type="body" idx="1"/>
          </p:nvPr>
        </p:nvSpPr>
        <p:spPr>
          <a:xfrm>
            <a:off x="212400" y="1965600"/>
            <a:ext cx="11754000" cy="3906000"/>
          </a:xfrm>
          <a:prstGeom prst="rect">
            <a:avLst/>
          </a:prstGeom>
        </p:spPr>
        <p:txBody>
          <a:bodyPr vert="horz" lIns="0" tIns="0" rIns="0" bIns="0" rtlCol="0" anchor="t">
            <a:no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a:p>
            <a:pPr lvl="8"/>
            <a:endParaRPr lang="de-DE"/>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de-DE"/>
              <a:t>Titelmasterformat durch Klicken bearbeiten</a:t>
            </a:r>
          </a:p>
        </p:txBody>
      </p:sp>
      <p:grpSp>
        <p:nvGrpSpPr>
          <p:cNvPr id="7" name="Gruppieren 6">
            <a:extLst>
              <a:ext uri="{FF2B5EF4-FFF2-40B4-BE49-F238E27FC236}">
                <a16:creationId xmlns:a16="http://schemas.microsoft.com/office/drawing/2014/main" id="{6DAAB4C8-AEFE-4A52-B5FE-12254CCF05E3}"/>
              </a:ext>
            </a:extLst>
          </p:cNvPr>
          <p:cNvGrpSpPr/>
          <p:nvPr userDrawn="1"/>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Tree>
    <p:extLst>
      <p:ext uri="{BB962C8B-B14F-4D97-AF65-F5344CB8AC3E}">
        <p14:creationId xmlns:p14="http://schemas.microsoft.com/office/powerpoint/2010/main" val="1589489480"/>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9"/>
        <p:cNvGrpSpPr/>
        <p:nvPr/>
      </p:nvGrpSpPr>
      <p:grpSpPr>
        <a:xfrm>
          <a:off x="0" y="0"/>
          <a:ext cx="0" cy="0"/>
          <a:chOff x="0" y="0"/>
          <a:chExt cx="0" cy="0"/>
        </a:xfrm>
      </p:grpSpPr>
      <p:sp>
        <p:nvSpPr>
          <p:cNvPr id="20" name="Google Shape;20;p75"/>
          <p:cNvSpPr txBox="1">
            <a:spLocks noGrp="1"/>
          </p:cNvSpPr>
          <p:nvPr>
            <p:ph type="ftr" idx="11"/>
          </p:nvPr>
        </p:nvSpPr>
        <p:spPr>
          <a:xfrm>
            <a:off x="1368000" y="6516000"/>
            <a:ext cx="7920000" cy="169200"/>
          </a:xfrm>
          <a:prstGeom prst="rect">
            <a:avLst/>
          </a:prstGeom>
          <a:noFill/>
          <a:ln>
            <a:noFill/>
          </a:ln>
        </p:spPr>
        <p:txBody>
          <a:bodyPr spcFirstLastPara="1" wrap="square" lIns="0" tIns="0" rIns="0" bIns="0" anchor="t" anchorCtr="0">
            <a:noAutofit/>
          </a:bodyPr>
          <a:lstStyle>
            <a:lvl1pPr marR="0" lvl="0" algn="l" rtl="0">
              <a:lnSpc>
                <a:spcPct val="100000"/>
              </a:lnSpc>
              <a:spcBef>
                <a:spcPts val="11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100000"/>
              </a:lnSpc>
              <a:spcBef>
                <a:spcPts val="11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21" name="Google Shape;21;p75"/>
          <p:cNvSpPr txBox="1">
            <a:spLocks noGrp="1"/>
          </p:cNvSpPr>
          <p:nvPr>
            <p:ph type="dt" idx="10"/>
          </p:nvPr>
        </p:nvSpPr>
        <p:spPr>
          <a:xfrm>
            <a:off x="687600" y="6516000"/>
            <a:ext cx="468000" cy="151200"/>
          </a:xfrm>
          <a:prstGeom prst="rect">
            <a:avLst/>
          </a:prstGeom>
          <a:noFill/>
          <a:ln>
            <a:noFill/>
          </a:ln>
        </p:spPr>
        <p:txBody>
          <a:bodyPr spcFirstLastPara="1" wrap="square" lIns="0" tIns="0" rIns="0" bIns="0" anchor="t" anchorCtr="0">
            <a:noAutofit/>
          </a:bodyPr>
          <a:lstStyle>
            <a:lvl1pPr marR="0" lvl="0" algn="l" rtl="0">
              <a:lnSpc>
                <a:spcPct val="100000"/>
              </a:lnSpc>
              <a:spcBef>
                <a:spcPts val="11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100000"/>
              </a:lnSpc>
              <a:spcBef>
                <a:spcPts val="11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22" name="Google Shape;22;p75"/>
          <p:cNvSpPr txBox="1">
            <a:spLocks noGrp="1"/>
          </p:cNvSpPr>
          <p:nvPr>
            <p:ph type="sldNum" idx="12"/>
          </p:nvPr>
        </p:nvSpPr>
        <p:spPr>
          <a:xfrm>
            <a:off x="226800" y="6516000"/>
            <a:ext cx="360000" cy="1512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900"/>
              <a:buFont typeface="Arial"/>
              <a:buNone/>
              <a:defRPr sz="900" b="1"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de-DE"/>
              <a:t>‹Nr.›</a:t>
            </a:fld>
            <a:endParaRPr/>
          </a:p>
        </p:txBody>
      </p:sp>
      <p:sp>
        <p:nvSpPr>
          <p:cNvPr id="23" name="Google Shape;23;p75"/>
          <p:cNvSpPr txBox="1">
            <a:spLocks noGrp="1"/>
          </p:cNvSpPr>
          <p:nvPr>
            <p:ph type="body" idx="1"/>
          </p:nvPr>
        </p:nvSpPr>
        <p:spPr>
          <a:xfrm>
            <a:off x="212400" y="1965600"/>
            <a:ext cx="11754000" cy="3906000"/>
          </a:xfrm>
          <a:prstGeom prst="rect">
            <a:avLst/>
          </a:prstGeom>
          <a:noFill/>
          <a:ln>
            <a:noFill/>
          </a:ln>
        </p:spPr>
        <p:txBody>
          <a:bodyPr spcFirstLastPara="1" wrap="square" lIns="0" tIns="0" rIns="0" bIns="0" anchor="t" anchorCtr="0">
            <a:noAutofit/>
          </a:bodyPr>
          <a:lstStyle>
            <a:lvl1pPr marL="457200" marR="0" lvl="0" indent="-355600" algn="l" rtl="0">
              <a:lnSpc>
                <a:spcPct val="95000"/>
              </a:lnSpc>
              <a:spcBef>
                <a:spcPts val="1800"/>
              </a:spcBef>
              <a:spcAft>
                <a:spcPts val="0"/>
              </a:spcAft>
              <a:buClr>
                <a:schemeClr val="accent1"/>
              </a:buClr>
              <a:buSzPts val="2000"/>
              <a:buFont typeface="Noto Sans Symbols"/>
              <a:buChar char="■"/>
              <a:defRPr sz="2000" b="0" i="0" u="none" strike="noStrike" cap="none">
                <a:solidFill>
                  <a:schemeClr val="dk1"/>
                </a:solidFill>
                <a:latin typeface="Arial"/>
                <a:ea typeface="Arial"/>
                <a:cs typeface="Arial"/>
                <a:sym typeface="Arial"/>
              </a:defRPr>
            </a:lvl1pPr>
            <a:lvl2pPr marL="914400" marR="0" lvl="1" indent="-355600" algn="l" rtl="0">
              <a:lnSpc>
                <a:spcPct val="95000"/>
              </a:lnSpc>
              <a:spcBef>
                <a:spcPts val="600"/>
              </a:spcBef>
              <a:spcAft>
                <a:spcPts val="0"/>
              </a:spcAft>
              <a:buClr>
                <a:schemeClr val="accent1"/>
              </a:buClr>
              <a:buSzPts val="2000"/>
              <a:buFont typeface="Noto Sans Symbols"/>
              <a:buChar char="►"/>
              <a:defRPr sz="2000" b="0" i="0" u="none" strike="noStrike" cap="none">
                <a:solidFill>
                  <a:schemeClr val="dk1"/>
                </a:solidFill>
                <a:latin typeface="Arial"/>
                <a:ea typeface="Arial"/>
                <a:cs typeface="Arial"/>
                <a:sym typeface="Arial"/>
              </a:defRPr>
            </a:lvl2pPr>
            <a:lvl3pPr marL="1371600" marR="0" lvl="2" indent="-355600" algn="l" rtl="0">
              <a:lnSpc>
                <a:spcPct val="95000"/>
              </a:lnSpc>
              <a:spcBef>
                <a:spcPts val="0"/>
              </a:spcBef>
              <a:spcAft>
                <a:spcPts val="0"/>
              </a:spcAft>
              <a:buClr>
                <a:schemeClr val="accent1"/>
              </a:buClr>
              <a:buSzPts val="2000"/>
              <a:buFont typeface="Noto Sans Symbols"/>
              <a:buChar char="●"/>
              <a:defRPr sz="2000" b="0" i="0" u="none" strike="noStrike" cap="none">
                <a:solidFill>
                  <a:schemeClr val="dk1"/>
                </a:solidFill>
                <a:latin typeface="Arial"/>
                <a:ea typeface="Arial"/>
                <a:cs typeface="Arial"/>
                <a:sym typeface="Arial"/>
              </a:defRPr>
            </a:lvl3pPr>
            <a:lvl4pPr marL="1828800" marR="0" lvl="3"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95000"/>
              </a:lnSpc>
              <a:spcBef>
                <a:spcPts val="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4" name="Google Shape;24;p75"/>
          <p:cNvSpPr txBox="1">
            <a:spLocks noGrp="1"/>
          </p:cNvSpPr>
          <p:nvPr>
            <p:ph type="title"/>
          </p:nvPr>
        </p:nvSpPr>
        <p:spPr>
          <a:xfrm>
            <a:off x="219600" y="432000"/>
            <a:ext cx="11736000" cy="853200"/>
          </a:xfrm>
          <a:prstGeom prst="rect">
            <a:avLst/>
          </a:prstGeom>
          <a:noFill/>
          <a:ln>
            <a:noFill/>
          </a:ln>
        </p:spPr>
        <p:txBody>
          <a:bodyPr spcFirstLastPara="1" wrap="square" lIns="0" tIns="0" rIns="0" bIns="0" anchor="t" anchorCtr="0">
            <a:noAutofit/>
          </a:bodyPr>
          <a:lstStyle>
            <a:lvl1pPr marR="0" lvl="0" algn="l" rtl="0">
              <a:lnSpc>
                <a:spcPct val="100000"/>
              </a:lnSpc>
              <a:spcBef>
                <a:spcPts val="110"/>
              </a:spcBef>
              <a:spcAft>
                <a:spcPts val="0"/>
              </a:spcAft>
              <a:buClr>
                <a:schemeClr val="accent1"/>
              </a:buClr>
              <a:buSzPts val="2800"/>
              <a:buFont typeface="Arial"/>
              <a:buNone/>
              <a:defRPr sz="2800" b="1" i="0" u="none" strike="noStrike" cap="none">
                <a:solidFill>
                  <a:schemeClr val="accent1"/>
                </a:solidFill>
                <a:latin typeface="Arial"/>
                <a:ea typeface="Arial"/>
                <a:cs typeface="Arial"/>
                <a:sym typeface="Arial"/>
              </a:defRPr>
            </a:lvl1pPr>
            <a:lvl2pPr marR="0" lvl="1" algn="l" rtl="0">
              <a:lnSpc>
                <a:spcPct val="100000"/>
              </a:lnSpc>
              <a:spcBef>
                <a:spcPts val="11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grpSp>
        <p:nvGrpSpPr>
          <p:cNvPr id="25" name="Google Shape;25;p75"/>
          <p:cNvGrpSpPr/>
          <p:nvPr/>
        </p:nvGrpSpPr>
        <p:grpSpPr>
          <a:xfrm>
            <a:off x="9601200" y="6091200"/>
            <a:ext cx="2592000" cy="540000"/>
            <a:chOff x="9597600" y="6091200"/>
            <a:chExt cx="2592000" cy="540000"/>
          </a:xfrm>
        </p:grpSpPr>
        <p:sp>
          <p:nvSpPr>
            <p:cNvPr id="26" name="Google Shape;26;p75"/>
            <p:cNvSpPr/>
            <p:nvPr/>
          </p:nvSpPr>
          <p:spPr>
            <a:xfrm>
              <a:off x="9597600" y="6091200"/>
              <a:ext cx="2592000" cy="540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pic>
          <p:nvPicPr>
            <p:cNvPr id="27" name="Google Shape;27;p75"/>
            <p:cNvPicPr preferRelativeResize="0"/>
            <p:nvPr/>
          </p:nvPicPr>
          <p:blipFill rotWithShape="1">
            <a:blip r:embed="rId4">
              <a:alphaModFix/>
            </a:blip>
            <a:srcRect/>
            <a:stretch/>
          </p:blipFill>
          <p:spPr>
            <a:xfrm>
              <a:off x="9730800" y="6224400"/>
              <a:ext cx="808391" cy="292882"/>
            </a:xfrm>
            <a:prstGeom prst="rect">
              <a:avLst/>
            </a:prstGeom>
            <a:noFill/>
            <a:ln>
              <a:noFill/>
            </a:ln>
          </p:spPr>
        </p:pic>
      </p:grpSp>
    </p:spTree>
    <p:extLst>
      <p:ext uri="{BB962C8B-B14F-4D97-AF65-F5344CB8AC3E}">
        <p14:creationId xmlns:p14="http://schemas.microsoft.com/office/powerpoint/2010/main" val="3070398078"/>
      </p:ext>
    </p:extLst>
  </p:cSld>
  <p:clrMap bg1="lt1" tx1="dk1" bg2="dk2" tx2="lt2" accent1="accent1" accent2="accent2" accent3="accent3" accent4="accent4" accent5="accent5" accent6="accent6" hlink="hlink" folHlink="folHlink"/>
  <p:sldLayoutIdLst>
    <p:sldLayoutId id="2147483829" r:id="rId1"/>
    <p:sldLayoutId id="2147483833"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png"/><Relationship Id="rId7"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47.png"/><Relationship Id="rId5" Type="http://schemas.openxmlformats.org/officeDocument/2006/relationships/image" Target="../media/image57.jpeg"/><Relationship Id="rId4" Type="http://schemas.openxmlformats.org/officeDocument/2006/relationships/image" Target="../media/image56.jpeg"/></Relationships>
</file>

<file path=ppt/slides/_rels/slide17.xml.rels><?xml version="1.0" encoding="UTF-8" standalone="yes"?>
<Relationships xmlns="http://schemas.openxmlformats.org/package/2006/relationships"><Relationship Id="rId8" Type="http://schemas.openxmlformats.org/officeDocument/2006/relationships/image" Target="../media/image60.emf"/><Relationship Id="rId13" Type="http://schemas.openxmlformats.org/officeDocument/2006/relationships/image" Target="../media/image65.png"/><Relationship Id="rId3" Type="http://schemas.openxmlformats.org/officeDocument/2006/relationships/slideLayout" Target="../slideLayouts/slideLayout1.xml"/><Relationship Id="rId7" Type="http://schemas.openxmlformats.org/officeDocument/2006/relationships/oleObject" Target="../embeddings/oleObject4.bin"/><Relationship Id="rId12" Type="http://schemas.openxmlformats.org/officeDocument/2006/relationships/image" Target="../media/image64.emf"/><Relationship Id="rId17" Type="http://schemas.openxmlformats.org/officeDocument/2006/relationships/image" Target="../media/image68.png"/><Relationship Id="rId2" Type="http://schemas.openxmlformats.org/officeDocument/2006/relationships/tags" Target="../tags/tag17.xml"/><Relationship Id="rId16" Type="http://schemas.openxmlformats.org/officeDocument/2006/relationships/image" Target="../media/image67.png"/><Relationship Id="rId1" Type="http://schemas.openxmlformats.org/officeDocument/2006/relationships/tags" Target="../tags/tag16.xml"/><Relationship Id="rId6" Type="http://schemas.openxmlformats.org/officeDocument/2006/relationships/image" Target="../media/image59.svg"/><Relationship Id="rId11" Type="http://schemas.openxmlformats.org/officeDocument/2006/relationships/image" Target="../media/image63.png"/><Relationship Id="rId5" Type="http://schemas.openxmlformats.org/officeDocument/2006/relationships/image" Target="../media/image58.png"/><Relationship Id="rId15" Type="http://schemas.openxmlformats.org/officeDocument/2006/relationships/image" Target="../media/image47.png"/><Relationship Id="rId10" Type="http://schemas.openxmlformats.org/officeDocument/2006/relationships/image" Target="../media/image62.svg"/><Relationship Id="rId4" Type="http://schemas.openxmlformats.org/officeDocument/2006/relationships/notesSlide" Target="../notesSlides/notesSlide10.xml"/><Relationship Id="rId9" Type="http://schemas.openxmlformats.org/officeDocument/2006/relationships/image" Target="../media/image61.png"/><Relationship Id="rId14" Type="http://schemas.openxmlformats.org/officeDocument/2006/relationships/image" Target="../media/image66.png"/></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7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9.jpeg"/><Relationship Id="rId11" Type="http://schemas.openxmlformats.org/officeDocument/2006/relationships/image" Target="../media/image2.png"/><Relationship Id="rId5" Type="http://schemas.openxmlformats.org/officeDocument/2006/relationships/image" Target="../media/image55.png"/><Relationship Id="rId10" Type="http://schemas.openxmlformats.org/officeDocument/2006/relationships/image" Target="../media/image47.png"/><Relationship Id="rId4" Type="http://schemas.openxmlformats.org/officeDocument/2006/relationships/notesSlide" Target="../notesSlides/notesSlide11.xml"/><Relationship Id="rId9"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47.png"/><Relationship Id="rId9"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83.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svg"/></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92.tiff"/><Relationship Id="rId5" Type="http://schemas.openxmlformats.org/officeDocument/2006/relationships/image" Target="../media/image91.png"/><Relationship Id="rId4" Type="http://schemas.openxmlformats.org/officeDocument/2006/relationships/image" Target="../media/image90.png"/></Relationships>
</file>

<file path=ppt/slides/_rels/slide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image" Target="../media/image95.jpeg"/></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Layout" Target="../slideLayouts/slideLayout5.xml"/><Relationship Id="rId5" Type="http://schemas.openxmlformats.org/officeDocument/2006/relationships/image" Target="../media/image47.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jpeg"/><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9.jpeg"/></Relationships>
</file>

<file path=ppt/slides/_rels/slide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7.xml"/><Relationship Id="rId5" Type="http://schemas.openxmlformats.org/officeDocument/2006/relationships/image" Target="../media/image34.jpeg"/><Relationship Id="rId4" Type="http://schemas.openxmlformats.org/officeDocument/2006/relationships/image" Target="../media/image33.jpeg"/></Relationships>
</file>

<file path=ppt/slides/_rels/slide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5.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7.svg"/><Relationship Id="rId17" Type="http://schemas.openxmlformats.org/officeDocument/2006/relationships/image" Target="../media/image2.png"/><Relationship Id="rId2" Type="http://schemas.openxmlformats.org/officeDocument/2006/relationships/tags" Target="../tags/tag4.xml"/><Relationship Id="rId16" Type="http://schemas.openxmlformats.org/officeDocument/2006/relationships/image" Target="../media/image19.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16.png"/><Relationship Id="rId5" Type="http://schemas.openxmlformats.org/officeDocument/2006/relationships/tags" Target="../tags/tag7.xml"/><Relationship Id="rId15" Type="http://schemas.openxmlformats.org/officeDocument/2006/relationships/image" Target="../media/image18.png"/><Relationship Id="rId10" Type="http://schemas.openxmlformats.org/officeDocument/2006/relationships/slideLayout" Target="../slideLayouts/slideLayout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36.svg"/></Relationships>
</file>

<file path=ppt/slides/_rels/slide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Cartoon, Clipart, Grafiken, Grafikdesign enthält.&#10;&#10;KI-generierte Inhalte können fehlerhaft sein.">
            <a:extLst>
              <a:ext uri="{FF2B5EF4-FFF2-40B4-BE49-F238E27FC236}">
                <a16:creationId xmlns:a16="http://schemas.microsoft.com/office/drawing/2014/main" id="{E6272A9D-604C-5180-94F3-357B84D8739F}"/>
              </a:ext>
            </a:extLst>
          </p:cNvPr>
          <p:cNvPicPr>
            <a:picLocks noChangeAspect="1"/>
          </p:cNvPicPr>
          <p:nvPr/>
        </p:nvPicPr>
        <p:blipFill>
          <a:blip r:embed="rId3">
            <a:extLst>
              <a:ext uri="{28A0092B-C50C-407E-A947-70E740481C1C}">
                <a14:useLocalDpi xmlns:a14="http://schemas.microsoft.com/office/drawing/2010/main" val="0"/>
              </a:ext>
            </a:extLst>
          </a:blip>
          <a:srcRect l="16243" r="-1"/>
          <a:stretch/>
        </p:blipFill>
        <p:spPr>
          <a:xfrm>
            <a:off x="6096000" y="-1760437"/>
            <a:ext cx="7538714" cy="10359006"/>
          </a:xfrm>
          <a:prstGeom prst="rect">
            <a:avLst/>
          </a:prstGeom>
        </p:spPr>
      </p:pic>
      <p:pic>
        <p:nvPicPr>
          <p:cNvPr id="11" name="Bildplatzhalter 7">
            <a:extLst>
              <a:ext uri="{FF2B5EF4-FFF2-40B4-BE49-F238E27FC236}">
                <a16:creationId xmlns:a16="http://schemas.microsoft.com/office/drawing/2014/main" id="{71D101DB-C330-B35D-D3B3-D7E37746963C}"/>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a:stretch/>
        </p:blipFill>
        <p:spPr>
          <a:xfrm>
            <a:off x="14516565" y="0"/>
            <a:ext cx="6096000" cy="6858000"/>
          </a:xfrm>
        </p:spPr>
      </p:pic>
      <p:sp>
        <p:nvSpPr>
          <p:cNvPr id="13" name="Textplatzhalter 12">
            <a:extLst>
              <a:ext uri="{FF2B5EF4-FFF2-40B4-BE49-F238E27FC236}">
                <a16:creationId xmlns:a16="http://schemas.microsoft.com/office/drawing/2014/main" id="{9C356C55-3651-64AF-5677-5E1067A21FD7}"/>
              </a:ext>
            </a:extLst>
          </p:cNvPr>
          <p:cNvSpPr>
            <a:spLocks noGrp="1"/>
          </p:cNvSpPr>
          <p:nvPr>
            <p:ph type="body" sz="quarter" idx="13"/>
          </p:nvPr>
        </p:nvSpPr>
        <p:spPr>
          <a:xfrm>
            <a:off x="228600" y="1783739"/>
            <a:ext cx="5688013" cy="1014182"/>
          </a:xfrm>
        </p:spPr>
        <p:txBody>
          <a:bodyPr/>
          <a:lstStyle/>
          <a:p>
            <a:r>
              <a:rPr lang="en-US" dirty="0"/>
              <a:t>Creating a </a:t>
            </a:r>
            <a:br>
              <a:rPr lang="en-US" dirty="0"/>
            </a:br>
            <a:r>
              <a:rPr lang="en-US" dirty="0"/>
              <a:t>Future Target Picture</a:t>
            </a:r>
          </a:p>
        </p:txBody>
      </p:sp>
      <p:sp>
        <p:nvSpPr>
          <p:cNvPr id="14" name="Textplatzhalter 13">
            <a:extLst>
              <a:ext uri="{FF2B5EF4-FFF2-40B4-BE49-F238E27FC236}">
                <a16:creationId xmlns:a16="http://schemas.microsoft.com/office/drawing/2014/main" id="{42657216-2207-051A-AB2C-5CFF1C5D9D0B}"/>
              </a:ext>
            </a:extLst>
          </p:cNvPr>
          <p:cNvSpPr>
            <a:spLocks noGrp="1"/>
          </p:cNvSpPr>
          <p:nvPr>
            <p:ph type="body" sz="quarter" idx="14"/>
          </p:nvPr>
        </p:nvSpPr>
        <p:spPr>
          <a:xfrm>
            <a:off x="228600" y="2963709"/>
            <a:ext cx="5688013" cy="444480"/>
          </a:xfrm>
        </p:spPr>
        <p:txBody>
          <a:bodyPr/>
          <a:lstStyle/>
          <a:p>
            <a:r>
              <a:rPr lang="en-US" dirty="0"/>
              <a:t>das </a:t>
            </a:r>
            <a:r>
              <a:rPr lang="en-US" dirty="0" err="1"/>
              <a:t>Potenzial</a:t>
            </a:r>
            <a:r>
              <a:rPr lang="en-US" dirty="0"/>
              <a:t> von </a:t>
            </a:r>
            <a:r>
              <a:rPr lang="en-US" dirty="0" err="1"/>
              <a:t>Nachhaltigkeit</a:t>
            </a:r>
            <a:r>
              <a:rPr lang="en-US" dirty="0"/>
              <a:t> </a:t>
            </a:r>
            <a:r>
              <a:rPr lang="en-US" dirty="0" err="1"/>
              <a:t>entfesseln</a:t>
            </a:r>
            <a:endParaRPr lang="en-US" dirty="0"/>
          </a:p>
        </p:txBody>
      </p:sp>
      <p:sp>
        <p:nvSpPr>
          <p:cNvPr id="15" name="Textplatzhalter 14">
            <a:extLst>
              <a:ext uri="{FF2B5EF4-FFF2-40B4-BE49-F238E27FC236}">
                <a16:creationId xmlns:a16="http://schemas.microsoft.com/office/drawing/2014/main" id="{4F04D8F1-06A7-B6AC-BF1E-8DA540CEC00A}"/>
              </a:ext>
            </a:extLst>
          </p:cNvPr>
          <p:cNvSpPr>
            <a:spLocks noGrp="1"/>
          </p:cNvSpPr>
          <p:nvPr>
            <p:ph type="body" sz="quarter" idx="15"/>
          </p:nvPr>
        </p:nvSpPr>
        <p:spPr>
          <a:xfrm>
            <a:off x="228600" y="4122787"/>
            <a:ext cx="5688013" cy="1430288"/>
          </a:xfrm>
        </p:spPr>
        <p:txBody>
          <a:bodyPr/>
          <a:lstStyle/>
          <a:p>
            <a:pPr marL="0" indent="0" algn="l" rtl="0" eaLnBrk="1" latinLnBrk="0" hangingPunct="1">
              <a:buNone/>
            </a:pPr>
            <a:r>
              <a:rPr lang="de-DE" sz="2000" dirty="0">
                <a:solidFill>
                  <a:srgbClr val="FFFFFF"/>
                </a:solidFill>
                <a:effectLst/>
                <a:latin typeface="Arial" panose="020B0604020202020204" pitchFamily="34" charset="0"/>
              </a:rPr>
              <a:t>Dr. Markus Piepenbrink</a:t>
            </a:r>
          </a:p>
          <a:p>
            <a:pPr marL="0" indent="0" algn="l" rtl="0" eaLnBrk="1" latinLnBrk="0" hangingPunct="1">
              <a:buNone/>
            </a:pPr>
            <a:br>
              <a:rPr lang="de-DE" sz="2000" dirty="0">
                <a:solidFill>
                  <a:srgbClr val="FFFFFF"/>
                </a:solidFill>
                <a:effectLst/>
                <a:latin typeface="Arial" panose="020B0604020202020204" pitchFamily="34" charset="0"/>
              </a:rPr>
            </a:br>
            <a:r>
              <a:rPr lang="de-DE" sz="2000" dirty="0" err="1">
                <a:solidFill>
                  <a:srgbClr val="FFFFFF"/>
                </a:solidFill>
                <a:effectLst/>
                <a:latin typeface="Arial" panose="020B0604020202020204" pitchFamily="34" charset="0"/>
              </a:rPr>
              <a:t>Sustainability</a:t>
            </a:r>
            <a:r>
              <a:rPr lang="de-DE" sz="2000" dirty="0">
                <a:solidFill>
                  <a:srgbClr val="FFFFFF"/>
                </a:solidFill>
                <a:effectLst/>
                <a:latin typeface="Arial" panose="020B0604020202020204" pitchFamily="34" charset="0"/>
              </a:rPr>
              <a:t> Summit </a:t>
            </a:r>
          </a:p>
          <a:p>
            <a:r>
              <a:rPr lang="de-DE" dirty="0">
                <a:solidFill>
                  <a:srgbClr val="FFFFFF"/>
                </a:solidFill>
                <a:latin typeface="Arial" panose="020B0604020202020204" pitchFamily="34" charset="0"/>
              </a:rPr>
              <a:t>Hamburg, 26. </a:t>
            </a:r>
            <a:r>
              <a:rPr lang="de-DE" sz="2000" dirty="0">
                <a:solidFill>
                  <a:srgbClr val="FFFFFF"/>
                </a:solidFill>
                <a:effectLst/>
                <a:latin typeface="Arial" panose="020B0604020202020204" pitchFamily="34" charset="0"/>
              </a:rPr>
              <a:t>Juni 2025</a:t>
            </a:r>
            <a:endParaRPr lang="de-DE" dirty="0"/>
          </a:p>
        </p:txBody>
      </p:sp>
      <p:sp>
        <p:nvSpPr>
          <p:cNvPr id="24" name="Textplatzhalter 23">
            <a:extLst>
              <a:ext uri="{FF2B5EF4-FFF2-40B4-BE49-F238E27FC236}">
                <a16:creationId xmlns:a16="http://schemas.microsoft.com/office/drawing/2014/main" id="{F117261A-79FD-B606-D3B5-5C8FE46D8D39}"/>
              </a:ext>
            </a:extLst>
          </p:cNvPr>
          <p:cNvSpPr>
            <a:spLocks noGrp="1"/>
          </p:cNvSpPr>
          <p:nvPr>
            <p:ph type="body" sz="quarter" idx="16"/>
          </p:nvPr>
        </p:nvSpPr>
        <p:spPr/>
        <p:txBody>
          <a:bodyPr/>
          <a:lstStyle/>
          <a:p>
            <a:endParaRPr lang="de-DE" dirty="0"/>
          </a:p>
        </p:txBody>
      </p:sp>
      <p:pic>
        <p:nvPicPr>
          <p:cNvPr id="18" name="Grafik 17" descr="Ein Bild, das Cartoon enthält.&#10;&#10;KI-generierte Inhalte können fehlerhaft sein.">
            <a:extLst>
              <a:ext uri="{FF2B5EF4-FFF2-40B4-BE49-F238E27FC236}">
                <a16:creationId xmlns:a16="http://schemas.microsoft.com/office/drawing/2014/main" id="{7521304B-D848-C43A-7C2E-BECDB544C4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3087" y="16042"/>
            <a:ext cx="5401067" cy="3599695"/>
          </a:xfrm>
          <a:prstGeom prst="rect">
            <a:avLst/>
          </a:prstGeom>
        </p:spPr>
      </p:pic>
    </p:spTree>
    <p:extLst>
      <p:ext uri="{BB962C8B-B14F-4D97-AF65-F5344CB8AC3E}">
        <p14:creationId xmlns:p14="http://schemas.microsoft.com/office/powerpoint/2010/main" val="34934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1A39946-BBC8-8778-98E8-874D5E569697}"/>
              </a:ext>
            </a:extLst>
          </p:cNvPr>
          <p:cNvPicPr>
            <a:picLocks noChangeAspect="1"/>
          </p:cNvPicPr>
          <p:nvPr/>
        </p:nvPicPr>
        <p:blipFill>
          <a:blip r:embed="rId4"/>
          <a:stretch>
            <a:fillRect/>
          </a:stretch>
        </p:blipFill>
        <p:spPr>
          <a:xfrm>
            <a:off x="0" y="0"/>
            <a:ext cx="12192000" cy="6857999"/>
          </a:xfrm>
          <a:prstGeom prst="rect">
            <a:avLst/>
          </a:prstGeom>
        </p:spPr>
      </p:pic>
      <p:sp>
        <p:nvSpPr>
          <p:cNvPr id="3" name="Titel 1">
            <a:extLst>
              <a:ext uri="{FF2B5EF4-FFF2-40B4-BE49-F238E27FC236}">
                <a16:creationId xmlns:a16="http://schemas.microsoft.com/office/drawing/2014/main" id="{C0585C8B-E250-9F19-1A90-E679B2D9EDC6}"/>
              </a:ext>
            </a:extLst>
          </p:cNvPr>
          <p:cNvSpPr txBox="1">
            <a:spLocks/>
          </p:cNvSpPr>
          <p:nvPr/>
        </p:nvSpPr>
        <p:spPr>
          <a:xfrm>
            <a:off x="300979" y="309028"/>
            <a:ext cx="11602399" cy="853089"/>
          </a:xfrm>
          <a:prstGeom prst="rect">
            <a:avLst/>
          </a:prstGeom>
        </p:spPr>
        <p:txBody>
          <a:bodyPr vert="horz" lIns="0" tIns="0" rIns="0" bIns="0" rtlCol="0" anchor="t" anchorCtr="0">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r>
              <a:rPr lang="en-US" dirty="0">
                <a:solidFill>
                  <a:schemeClr val="bg1"/>
                </a:solidFill>
              </a:rPr>
              <a:t>Stell’ Dir </a:t>
            </a:r>
            <a:r>
              <a:rPr lang="en-US" dirty="0" err="1">
                <a:solidFill>
                  <a:schemeClr val="bg1"/>
                </a:solidFill>
              </a:rPr>
              <a:t>eine</a:t>
            </a:r>
            <a:r>
              <a:rPr lang="en-US" dirty="0">
                <a:solidFill>
                  <a:schemeClr val="bg1"/>
                </a:solidFill>
              </a:rPr>
              <a:t> </a:t>
            </a:r>
            <a:r>
              <a:rPr lang="en-US" dirty="0" err="1">
                <a:solidFill>
                  <a:schemeClr val="bg1"/>
                </a:solidFill>
              </a:rPr>
              <a:t>lebenswerte</a:t>
            </a:r>
            <a:r>
              <a:rPr lang="en-US" dirty="0">
                <a:solidFill>
                  <a:schemeClr val="bg1"/>
                </a:solidFill>
              </a:rPr>
              <a:t>, </a:t>
            </a:r>
            <a:r>
              <a:rPr lang="en-US" dirty="0" err="1">
                <a:solidFill>
                  <a:schemeClr val="bg1"/>
                </a:solidFill>
              </a:rPr>
              <a:t>nachhaltige</a:t>
            </a:r>
            <a:r>
              <a:rPr lang="en-US" dirty="0">
                <a:solidFill>
                  <a:schemeClr val="bg1"/>
                </a:solidFill>
              </a:rPr>
              <a:t> Zukunft </a:t>
            </a:r>
            <a:r>
              <a:rPr lang="en-US" dirty="0" err="1">
                <a:solidFill>
                  <a:schemeClr val="bg1"/>
                </a:solidFill>
              </a:rPr>
              <a:t>vor</a:t>
            </a:r>
            <a:r>
              <a:rPr lang="en-US" dirty="0">
                <a:solidFill>
                  <a:schemeClr val="bg1"/>
                </a:solidFill>
              </a:rPr>
              <a:t>…</a:t>
            </a:r>
            <a:br>
              <a:rPr lang="en-US" dirty="0"/>
            </a:br>
            <a:br>
              <a:rPr lang="en-US" dirty="0"/>
            </a:br>
            <a:endParaRPr lang="en-US" b="0" dirty="0"/>
          </a:p>
        </p:txBody>
      </p:sp>
      <p:pic>
        <p:nvPicPr>
          <p:cNvPr id="2" name="Picture 1">
            <a:extLst>
              <a:ext uri="{FF2B5EF4-FFF2-40B4-BE49-F238E27FC236}">
                <a16:creationId xmlns:a16="http://schemas.microsoft.com/office/drawing/2014/main" id="{67C6AB68-1A13-D69B-BD77-3FBE7C045FF0}"/>
              </a:ext>
            </a:extLst>
          </p:cNvPr>
          <p:cNvPicPr>
            <a:picLocks noChangeAspect="1"/>
          </p:cNvPicPr>
          <p:nvPr/>
        </p:nvPicPr>
        <p:blipFill>
          <a:blip r:embed="rId5"/>
          <a:stretch>
            <a:fillRect/>
          </a:stretch>
        </p:blipFill>
        <p:spPr>
          <a:xfrm>
            <a:off x="554154" y="114813"/>
            <a:ext cx="6898677" cy="6534439"/>
          </a:xfrm>
          <a:prstGeom prst="rect">
            <a:avLst/>
          </a:prstGeom>
        </p:spPr>
      </p:pic>
      <p:grpSp>
        <p:nvGrpSpPr>
          <p:cNvPr id="4" name="Gruppieren 3">
            <a:extLst>
              <a:ext uri="{FF2B5EF4-FFF2-40B4-BE49-F238E27FC236}">
                <a16:creationId xmlns:a16="http://schemas.microsoft.com/office/drawing/2014/main" id="{3F0BD9A7-5814-E67E-512E-D55186BB9F94}"/>
              </a:ext>
            </a:extLst>
          </p:cNvPr>
          <p:cNvGrpSpPr/>
          <p:nvPr/>
        </p:nvGrpSpPr>
        <p:grpSpPr>
          <a:xfrm>
            <a:off x="6599088" y="3261837"/>
            <a:ext cx="4292463" cy="1013713"/>
            <a:chOff x="6820563" y="2903035"/>
            <a:chExt cx="4625803" cy="1092435"/>
          </a:xfrm>
        </p:grpSpPr>
        <p:sp>
          <p:nvSpPr>
            <p:cNvPr id="5" name="Rechteck 4">
              <a:extLst>
                <a:ext uri="{FF2B5EF4-FFF2-40B4-BE49-F238E27FC236}">
                  <a16:creationId xmlns:a16="http://schemas.microsoft.com/office/drawing/2014/main" id="{08A17B6F-61D3-992E-333B-E4ACE378E6E9}"/>
                </a:ext>
              </a:extLst>
            </p:cNvPr>
            <p:cNvSpPr/>
            <p:nvPr/>
          </p:nvSpPr>
          <p:spPr>
            <a:xfrm>
              <a:off x="7296152" y="2903035"/>
              <a:ext cx="3156336" cy="1092433"/>
            </a:xfrm>
            <a:prstGeom prst="rect">
              <a:avLst/>
            </a:pr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6" name="Freihandform: Form 5">
              <a:extLst>
                <a:ext uri="{FF2B5EF4-FFF2-40B4-BE49-F238E27FC236}">
                  <a16:creationId xmlns:a16="http://schemas.microsoft.com/office/drawing/2014/main" id="{5A2BE450-213C-467B-37B9-1790F29AC19B}"/>
                </a:ext>
              </a:extLst>
            </p:cNvPr>
            <p:cNvSpPr/>
            <p:nvPr/>
          </p:nvSpPr>
          <p:spPr>
            <a:xfrm>
              <a:off x="6820563" y="2903037"/>
              <a:ext cx="963359" cy="1092433"/>
            </a:xfrm>
            <a:custGeom>
              <a:avLst/>
              <a:gdLst>
                <a:gd name="connsiteX0" fmla="*/ 7620 w 861060"/>
                <a:gd name="connsiteY0" fmla="*/ 243840 h 960120"/>
                <a:gd name="connsiteX1" fmla="*/ 441960 w 861060"/>
                <a:gd name="connsiteY1" fmla="*/ 0 h 960120"/>
                <a:gd name="connsiteX2" fmla="*/ 838200 w 861060"/>
                <a:gd name="connsiteY2" fmla="*/ 213360 h 960120"/>
                <a:gd name="connsiteX3" fmla="*/ 861060 w 861060"/>
                <a:gd name="connsiteY3" fmla="*/ 739140 h 960120"/>
                <a:gd name="connsiteX4" fmla="*/ 830580 w 861060"/>
                <a:gd name="connsiteY4" fmla="*/ 731520 h 960120"/>
                <a:gd name="connsiteX5" fmla="*/ 434340 w 861060"/>
                <a:gd name="connsiteY5" fmla="*/ 960120 h 960120"/>
                <a:gd name="connsiteX6" fmla="*/ 0 w 861060"/>
                <a:gd name="connsiteY6" fmla="*/ 678180 h 960120"/>
                <a:gd name="connsiteX7" fmla="*/ 7620 w 861060"/>
                <a:gd name="connsiteY7" fmla="*/ 243840 h 960120"/>
                <a:gd name="connsiteX0" fmla="*/ 7620 w 861060"/>
                <a:gd name="connsiteY0" fmla="*/ 222744 h 939024"/>
                <a:gd name="connsiteX1" fmla="*/ 433522 w 861060"/>
                <a:gd name="connsiteY1" fmla="*/ 0 h 939024"/>
                <a:gd name="connsiteX2" fmla="*/ 838200 w 861060"/>
                <a:gd name="connsiteY2" fmla="*/ 192264 h 939024"/>
                <a:gd name="connsiteX3" fmla="*/ 861060 w 861060"/>
                <a:gd name="connsiteY3" fmla="*/ 718044 h 939024"/>
                <a:gd name="connsiteX4" fmla="*/ 830580 w 861060"/>
                <a:gd name="connsiteY4" fmla="*/ 710424 h 939024"/>
                <a:gd name="connsiteX5" fmla="*/ 434340 w 861060"/>
                <a:gd name="connsiteY5" fmla="*/ 939024 h 939024"/>
                <a:gd name="connsiteX6" fmla="*/ 0 w 861060"/>
                <a:gd name="connsiteY6" fmla="*/ 657084 h 939024"/>
                <a:gd name="connsiteX7" fmla="*/ 7620 w 861060"/>
                <a:gd name="connsiteY7" fmla="*/ 222744 h 939024"/>
                <a:gd name="connsiteX0" fmla="*/ 7620 w 861060"/>
                <a:gd name="connsiteY0" fmla="*/ 243839 h 960119"/>
                <a:gd name="connsiteX1" fmla="*/ 427193 w 861060"/>
                <a:gd name="connsiteY1" fmla="*/ 0 h 960119"/>
                <a:gd name="connsiteX2" fmla="*/ 838200 w 861060"/>
                <a:gd name="connsiteY2" fmla="*/ 213359 h 960119"/>
                <a:gd name="connsiteX3" fmla="*/ 861060 w 861060"/>
                <a:gd name="connsiteY3" fmla="*/ 739139 h 960119"/>
                <a:gd name="connsiteX4" fmla="*/ 830580 w 861060"/>
                <a:gd name="connsiteY4" fmla="*/ 731519 h 960119"/>
                <a:gd name="connsiteX5" fmla="*/ 434340 w 861060"/>
                <a:gd name="connsiteY5" fmla="*/ 960119 h 960119"/>
                <a:gd name="connsiteX6" fmla="*/ 0 w 861060"/>
                <a:gd name="connsiteY6" fmla="*/ 678179 h 960119"/>
                <a:gd name="connsiteX7" fmla="*/ 7620 w 861060"/>
                <a:gd name="connsiteY7" fmla="*/ 243839 h 960119"/>
                <a:gd name="connsiteX0" fmla="*/ 7620 w 861060"/>
                <a:gd name="connsiteY0" fmla="*/ 243839 h 932695"/>
                <a:gd name="connsiteX1" fmla="*/ 427193 w 861060"/>
                <a:gd name="connsiteY1" fmla="*/ 0 h 932695"/>
                <a:gd name="connsiteX2" fmla="*/ 838200 w 861060"/>
                <a:gd name="connsiteY2" fmla="*/ 213359 h 932695"/>
                <a:gd name="connsiteX3" fmla="*/ 861060 w 861060"/>
                <a:gd name="connsiteY3" fmla="*/ 739139 h 932695"/>
                <a:gd name="connsiteX4" fmla="*/ 830580 w 861060"/>
                <a:gd name="connsiteY4" fmla="*/ 731519 h 932695"/>
                <a:gd name="connsiteX5" fmla="*/ 438558 w 861060"/>
                <a:gd name="connsiteY5" fmla="*/ 932695 h 932695"/>
                <a:gd name="connsiteX6" fmla="*/ 0 w 861060"/>
                <a:gd name="connsiteY6" fmla="*/ 678179 h 932695"/>
                <a:gd name="connsiteX7" fmla="*/ 7620 w 861060"/>
                <a:gd name="connsiteY7" fmla="*/ 243839 h 932695"/>
                <a:gd name="connsiteX0" fmla="*/ 7620 w 861060"/>
                <a:gd name="connsiteY0" fmla="*/ 243839 h 955900"/>
                <a:gd name="connsiteX1" fmla="*/ 427193 w 861060"/>
                <a:gd name="connsiteY1" fmla="*/ 0 h 955900"/>
                <a:gd name="connsiteX2" fmla="*/ 838200 w 861060"/>
                <a:gd name="connsiteY2" fmla="*/ 213359 h 955900"/>
                <a:gd name="connsiteX3" fmla="*/ 861060 w 861060"/>
                <a:gd name="connsiteY3" fmla="*/ 739139 h 955900"/>
                <a:gd name="connsiteX4" fmla="*/ 830580 w 861060"/>
                <a:gd name="connsiteY4" fmla="*/ 731519 h 955900"/>
                <a:gd name="connsiteX5" fmla="*/ 430119 w 861060"/>
                <a:gd name="connsiteY5" fmla="*/ 955900 h 955900"/>
                <a:gd name="connsiteX6" fmla="*/ 0 w 861060"/>
                <a:gd name="connsiteY6" fmla="*/ 678179 h 955900"/>
                <a:gd name="connsiteX7" fmla="*/ 7620 w 861060"/>
                <a:gd name="connsiteY7" fmla="*/ 243839 h 955900"/>
                <a:gd name="connsiteX0" fmla="*/ 0 w 853440"/>
                <a:gd name="connsiteY0" fmla="*/ 243839 h 955900"/>
                <a:gd name="connsiteX1" fmla="*/ 419573 w 853440"/>
                <a:gd name="connsiteY1" fmla="*/ 0 h 955900"/>
                <a:gd name="connsiteX2" fmla="*/ 830580 w 853440"/>
                <a:gd name="connsiteY2" fmla="*/ 213359 h 955900"/>
                <a:gd name="connsiteX3" fmla="*/ 853440 w 853440"/>
                <a:gd name="connsiteY3" fmla="*/ 739139 h 955900"/>
                <a:gd name="connsiteX4" fmla="*/ 822960 w 853440"/>
                <a:gd name="connsiteY4" fmla="*/ 731519 h 955900"/>
                <a:gd name="connsiteX5" fmla="*/ 422499 w 853440"/>
                <a:gd name="connsiteY5" fmla="*/ 955900 h 955900"/>
                <a:gd name="connsiteX6" fmla="*/ 818 w 853440"/>
                <a:gd name="connsiteY6" fmla="*/ 709821 h 955900"/>
                <a:gd name="connsiteX7" fmla="*/ 0 w 853440"/>
                <a:gd name="connsiteY7" fmla="*/ 243839 h 955900"/>
                <a:gd name="connsiteX0" fmla="*/ 1319 w 854759"/>
                <a:gd name="connsiteY0" fmla="*/ 243839 h 955900"/>
                <a:gd name="connsiteX1" fmla="*/ 420892 w 854759"/>
                <a:gd name="connsiteY1" fmla="*/ 0 h 955900"/>
                <a:gd name="connsiteX2" fmla="*/ 831899 w 854759"/>
                <a:gd name="connsiteY2" fmla="*/ 213359 h 955900"/>
                <a:gd name="connsiteX3" fmla="*/ 854759 w 854759"/>
                <a:gd name="connsiteY3" fmla="*/ 739139 h 955900"/>
                <a:gd name="connsiteX4" fmla="*/ 824279 w 854759"/>
                <a:gd name="connsiteY4" fmla="*/ 731519 h 955900"/>
                <a:gd name="connsiteX5" fmla="*/ 423818 w 854759"/>
                <a:gd name="connsiteY5" fmla="*/ 955900 h 955900"/>
                <a:gd name="connsiteX6" fmla="*/ 27 w 854759"/>
                <a:gd name="connsiteY6" fmla="*/ 728808 h 955900"/>
                <a:gd name="connsiteX7" fmla="*/ 1319 w 854759"/>
                <a:gd name="connsiteY7" fmla="*/ 243839 h 955900"/>
                <a:gd name="connsiteX0" fmla="*/ 0 w 853440"/>
                <a:gd name="connsiteY0" fmla="*/ 243839 h 955900"/>
                <a:gd name="connsiteX1" fmla="*/ 419573 w 853440"/>
                <a:gd name="connsiteY1" fmla="*/ 0 h 955900"/>
                <a:gd name="connsiteX2" fmla="*/ 830580 w 853440"/>
                <a:gd name="connsiteY2" fmla="*/ 213359 h 955900"/>
                <a:gd name="connsiteX3" fmla="*/ 853440 w 853440"/>
                <a:gd name="connsiteY3" fmla="*/ 739139 h 955900"/>
                <a:gd name="connsiteX4" fmla="*/ 822960 w 853440"/>
                <a:gd name="connsiteY4" fmla="*/ 731519 h 955900"/>
                <a:gd name="connsiteX5" fmla="*/ 422499 w 853440"/>
                <a:gd name="connsiteY5" fmla="*/ 955900 h 955900"/>
                <a:gd name="connsiteX6" fmla="*/ 818 w 853440"/>
                <a:gd name="connsiteY6" fmla="*/ 728808 h 955900"/>
                <a:gd name="connsiteX7" fmla="*/ 0 w 853440"/>
                <a:gd name="connsiteY7" fmla="*/ 243839 h 955900"/>
                <a:gd name="connsiteX0" fmla="*/ 0 w 853440"/>
                <a:gd name="connsiteY0" fmla="*/ 243839 h 953791"/>
                <a:gd name="connsiteX1" fmla="*/ 419573 w 853440"/>
                <a:gd name="connsiteY1" fmla="*/ 0 h 953791"/>
                <a:gd name="connsiteX2" fmla="*/ 830580 w 853440"/>
                <a:gd name="connsiteY2" fmla="*/ 213359 h 953791"/>
                <a:gd name="connsiteX3" fmla="*/ 853440 w 853440"/>
                <a:gd name="connsiteY3" fmla="*/ 739139 h 953791"/>
                <a:gd name="connsiteX4" fmla="*/ 822960 w 853440"/>
                <a:gd name="connsiteY4" fmla="*/ 731519 h 953791"/>
                <a:gd name="connsiteX5" fmla="*/ 380308 w 853440"/>
                <a:gd name="connsiteY5" fmla="*/ 953791 h 953791"/>
                <a:gd name="connsiteX6" fmla="*/ 818 w 853440"/>
                <a:gd name="connsiteY6" fmla="*/ 728808 h 953791"/>
                <a:gd name="connsiteX7" fmla="*/ 0 w 853440"/>
                <a:gd name="connsiteY7" fmla="*/ 243839 h 953791"/>
                <a:gd name="connsiteX0" fmla="*/ 0 w 853440"/>
                <a:gd name="connsiteY0" fmla="*/ 243839 h 943243"/>
                <a:gd name="connsiteX1" fmla="*/ 419573 w 853440"/>
                <a:gd name="connsiteY1" fmla="*/ 0 h 943243"/>
                <a:gd name="connsiteX2" fmla="*/ 830580 w 853440"/>
                <a:gd name="connsiteY2" fmla="*/ 213359 h 943243"/>
                <a:gd name="connsiteX3" fmla="*/ 853440 w 853440"/>
                <a:gd name="connsiteY3" fmla="*/ 739139 h 943243"/>
                <a:gd name="connsiteX4" fmla="*/ 822960 w 853440"/>
                <a:gd name="connsiteY4" fmla="*/ 731519 h 943243"/>
                <a:gd name="connsiteX5" fmla="*/ 384527 w 853440"/>
                <a:gd name="connsiteY5" fmla="*/ 943243 h 943243"/>
                <a:gd name="connsiteX6" fmla="*/ 818 w 853440"/>
                <a:gd name="connsiteY6" fmla="*/ 728808 h 943243"/>
                <a:gd name="connsiteX7" fmla="*/ 0 w 853440"/>
                <a:gd name="connsiteY7" fmla="*/ 243839 h 943243"/>
                <a:gd name="connsiteX0" fmla="*/ 0 w 853440"/>
                <a:gd name="connsiteY0" fmla="*/ 243839 h 941134"/>
                <a:gd name="connsiteX1" fmla="*/ 419573 w 853440"/>
                <a:gd name="connsiteY1" fmla="*/ 0 h 941134"/>
                <a:gd name="connsiteX2" fmla="*/ 830580 w 853440"/>
                <a:gd name="connsiteY2" fmla="*/ 213359 h 941134"/>
                <a:gd name="connsiteX3" fmla="*/ 853440 w 853440"/>
                <a:gd name="connsiteY3" fmla="*/ 739139 h 941134"/>
                <a:gd name="connsiteX4" fmla="*/ 822960 w 853440"/>
                <a:gd name="connsiteY4" fmla="*/ 731519 h 941134"/>
                <a:gd name="connsiteX5" fmla="*/ 376089 w 853440"/>
                <a:gd name="connsiteY5" fmla="*/ 941134 h 941134"/>
                <a:gd name="connsiteX6" fmla="*/ 818 w 853440"/>
                <a:gd name="connsiteY6" fmla="*/ 728808 h 941134"/>
                <a:gd name="connsiteX7" fmla="*/ 0 w 853440"/>
                <a:gd name="connsiteY7" fmla="*/ 243839 h 941134"/>
                <a:gd name="connsiteX0" fmla="*/ 0 w 853440"/>
                <a:gd name="connsiteY0" fmla="*/ 243839 h 941134"/>
                <a:gd name="connsiteX1" fmla="*/ 419573 w 853440"/>
                <a:gd name="connsiteY1" fmla="*/ 0 h 941134"/>
                <a:gd name="connsiteX2" fmla="*/ 830580 w 853440"/>
                <a:gd name="connsiteY2" fmla="*/ 213359 h 941134"/>
                <a:gd name="connsiteX3" fmla="*/ 853440 w 853440"/>
                <a:gd name="connsiteY3" fmla="*/ 739139 h 941134"/>
                <a:gd name="connsiteX4" fmla="*/ 643648 w 853440"/>
                <a:gd name="connsiteY4" fmla="*/ 925598 h 941134"/>
                <a:gd name="connsiteX5" fmla="*/ 376089 w 853440"/>
                <a:gd name="connsiteY5" fmla="*/ 941134 h 941134"/>
                <a:gd name="connsiteX6" fmla="*/ 818 w 853440"/>
                <a:gd name="connsiteY6" fmla="*/ 728808 h 941134"/>
                <a:gd name="connsiteX7" fmla="*/ 0 w 853440"/>
                <a:gd name="connsiteY7" fmla="*/ 243839 h 941134"/>
                <a:gd name="connsiteX0" fmla="*/ 0 w 853440"/>
                <a:gd name="connsiteY0" fmla="*/ 243839 h 966449"/>
                <a:gd name="connsiteX1" fmla="*/ 419573 w 853440"/>
                <a:gd name="connsiteY1" fmla="*/ 0 h 966449"/>
                <a:gd name="connsiteX2" fmla="*/ 830580 w 853440"/>
                <a:gd name="connsiteY2" fmla="*/ 213359 h 966449"/>
                <a:gd name="connsiteX3" fmla="*/ 853440 w 853440"/>
                <a:gd name="connsiteY3" fmla="*/ 739139 h 966449"/>
                <a:gd name="connsiteX4" fmla="*/ 643648 w 853440"/>
                <a:gd name="connsiteY4" fmla="*/ 925598 h 966449"/>
                <a:gd name="connsiteX5" fmla="*/ 422500 w 853440"/>
                <a:gd name="connsiteY5" fmla="*/ 966449 h 966449"/>
                <a:gd name="connsiteX6" fmla="*/ 818 w 853440"/>
                <a:gd name="connsiteY6" fmla="*/ 728808 h 966449"/>
                <a:gd name="connsiteX7" fmla="*/ 0 w 853440"/>
                <a:gd name="connsiteY7" fmla="*/ 243839 h 966449"/>
                <a:gd name="connsiteX0" fmla="*/ 0 w 853440"/>
                <a:gd name="connsiteY0" fmla="*/ 243839 h 967789"/>
                <a:gd name="connsiteX1" fmla="*/ 419573 w 853440"/>
                <a:gd name="connsiteY1" fmla="*/ 0 h 967789"/>
                <a:gd name="connsiteX2" fmla="*/ 830580 w 853440"/>
                <a:gd name="connsiteY2" fmla="*/ 213359 h 967789"/>
                <a:gd name="connsiteX3" fmla="*/ 853440 w 853440"/>
                <a:gd name="connsiteY3" fmla="*/ 739139 h 967789"/>
                <a:gd name="connsiteX4" fmla="*/ 664744 w 853440"/>
                <a:gd name="connsiteY4" fmla="*/ 967789 h 967789"/>
                <a:gd name="connsiteX5" fmla="*/ 422500 w 853440"/>
                <a:gd name="connsiteY5" fmla="*/ 966449 h 967789"/>
                <a:gd name="connsiteX6" fmla="*/ 818 w 853440"/>
                <a:gd name="connsiteY6" fmla="*/ 728808 h 967789"/>
                <a:gd name="connsiteX7" fmla="*/ 0 w 853440"/>
                <a:gd name="connsiteY7" fmla="*/ 243839 h 96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 h="967789">
                  <a:moveTo>
                    <a:pt x="0" y="243839"/>
                  </a:moveTo>
                  <a:lnTo>
                    <a:pt x="419573" y="0"/>
                  </a:lnTo>
                  <a:lnTo>
                    <a:pt x="830580" y="213359"/>
                  </a:lnTo>
                  <a:lnTo>
                    <a:pt x="853440" y="739139"/>
                  </a:lnTo>
                  <a:lnTo>
                    <a:pt x="664744" y="967789"/>
                  </a:lnTo>
                  <a:lnTo>
                    <a:pt x="422500" y="966449"/>
                  </a:lnTo>
                  <a:lnTo>
                    <a:pt x="818" y="728808"/>
                  </a:lnTo>
                  <a:cubicBezTo>
                    <a:pt x="545" y="573481"/>
                    <a:pt x="273" y="399166"/>
                    <a:pt x="0" y="243839"/>
                  </a:cubicBezTo>
                  <a:close/>
                </a:path>
              </a:pathLst>
            </a:cu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7" name="Rechteck 6">
              <a:extLst>
                <a:ext uri="{FF2B5EF4-FFF2-40B4-BE49-F238E27FC236}">
                  <a16:creationId xmlns:a16="http://schemas.microsoft.com/office/drawing/2014/main" id="{B111FA60-AA20-4E96-5705-9BE33D3F6292}"/>
                </a:ext>
              </a:extLst>
            </p:cNvPr>
            <p:cNvSpPr/>
            <p:nvPr/>
          </p:nvSpPr>
          <p:spPr>
            <a:xfrm>
              <a:off x="7388233" y="2903171"/>
              <a:ext cx="4058133" cy="1083642"/>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Arial" panose="020B0604020202020204"/>
                  <a:ea typeface="+mj-ea"/>
                  <a:cs typeface="Arial"/>
                </a:rPr>
                <a:t>Zielbild</a:t>
              </a:r>
              <a:br>
                <a:rPr kumimoji="0" lang="en-US" sz="2800" b="1" i="0" u="none" strike="noStrike" kern="1200" cap="none" spc="0" normalizeH="0" baseline="0" noProof="0" dirty="0">
                  <a:ln>
                    <a:noFill/>
                  </a:ln>
                  <a:solidFill>
                    <a:srgbClr val="FFFFFF"/>
                  </a:solidFill>
                  <a:effectLst/>
                  <a:uLnTx/>
                  <a:uFillTx/>
                  <a:latin typeface="Arial" panose="020B0604020202020204"/>
                  <a:ea typeface="+mj-ea"/>
                  <a:cs typeface="Arial"/>
                </a:rPr>
              </a:br>
              <a:r>
                <a:rPr kumimoji="0" lang="en-US" sz="2800" b="1" i="0" u="none" strike="noStrike" kern="1200" cap="none" spc="0" normalizeH="0" baseline="0" noProof="0" dirty="0" err="1">
                  <a:ln>
                    <a:noFill/>
                  </a:ln>
                  <a:solidFill>
                    <a:srgbClr val="FFFFFF"/>
                  </a:solidFill>
                  <a:effectLst/>
                  <a:uLnTx/>
                  <a:uFillTx/>
                  <a:latin typeface="Arial" panose="020B0604020202020204"/>
                  <a:ea typeface="+mj-ea"/>
                  <a:cs typeface="Arial"/>
                </a:rPr>
                <a:t>Nachhaltigkeit</a:t>
              </a:r>
              <a:endParaRPr kumimoji="0" lang="de-DE" sz="2400" b="0" i="0" u="none" strike="noStrike" kern="1200" cap="none" spc="0" normalizeH="0" baseline="0" noProof="0" dirty="0">
                <a:ln>
                  <a:noFill/>
                </a:ln>
                <a:solidFill>
                  <a:srgbClr val="FFFFFF"/>
                </a:solidFill>
                <a:effectLst/>
                <a:uLnTx/>
                <a:uFillTx/>
                <a:latin typeface="Arial" panose="020B0604020202020204"/>
                <a:ea typeface="+mj-ea"/>
                <a:cs typeface="Arial"/>
              </a:endParaRPr>
            </a:p>
          </p:txBody>
        </p:sp>
      </p:grpSp>
      <p:sp>
        <p:nvSpPr>
          <p:cNvPr id="10" name="Foliennummernplatzhalter 9">
            <a:extLst>
              <a:ext uri="{FF2B5EF4-FFF2-40B4-BE49-F238E27FC236}">
                <a16:creationId xmlns:a16="http://schemas.microsoft.com/office/drawing/2014/main" id="{DEF826E0-52E2-06AC-7726-4FE2BFEEBED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10</a:t>
            </a:fld>
            <a:endParaRPr lang="de-DE">
              <a:solidFill>
                <a:srgbClr val="000000"/>
              </a:solidFill>
            </a:endParaRPr>
          </a:p>
        </p:txBody>
      </p:sp>
    </p:spTree>
    <p:custDataLst>
      <p:tags r:id="rId1"/>
    </p:custDataLst>
    <p:extLst>
      <p:ext uri="{BB962C8B-B14F-4D97-AF65-F5344CB8AC3E}">
        <p14:creationId xmlns:p14="http://schemas.microsoft.com/office/powerpoint/2010/main" val="1477920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5D78ED-E9AE-F3E0-AB09-C00EF78B2C9D}"/>
              </a:ext>
            </a:extLst>
          </p:cNvPr>
          <p:cNvSpPr>
            <a:spLocks noGrp="1"/>
          </p:cNvSpPr>
          <p:nvPr>
            <p:ph type="title"/>
          </p:nvPr>
        </p:nvSpPr>
        <p:spPr/>
        <p:txBody>
          <a:bodyPr/>
          <a:lstStyle/>
          <a:p>
            <a:r>
              <a:rPr lang="en-US" noProof="0" dirty="0"/>
              <a:t>Start </a:t>
            </a:r>
            <a:r>
              <a:rPr lang="en-US" noProof="0" dirty="0" err="1"/>
              <a:t>unserer</a:t>
            </a:r>
            <a:r>
              <a:rPr lang="en-US" noProof="0" dirty="0"/>
              <a:t> Reise zu </a:t>
            </a:r>
            <a:r>
              <a:rPr lang="en-US" noProof="0" dirty="0" err="1"/>
              <a:t>einer</a:t>
            </a:r>
            <a:r>
              <a:rPr lang="en-US" noProof="0" dirty="0"/>
              <a:t> </a:t>
            </a:r>
            <a:r>
              <a:rPr lang="en-US" noProof="0" dirty="0" err="1"/>
              <a:t>Zukunftsvision</a:t>
            </a:r>
            <a:br>
              <a:rPr lang="de-DE" dirty="0"/>
            </a:br>
            <a:r>
              <a:rPr lang="de-DE" sz="2400" b="0" dirty="0"/>
              <a:t>„</a:t>
            </a:r>
            <a:r>
              <a:rPr lang="de-DE" sz="2400" b="0" dirty="0" err="1"/>
              <a:t>Let‘s</a:t>
            </a:r>
            <a:r>
              <a:rPr lang="de-DE" sz="2400" b="0" dirty="0"/>
              <a:t> Go </a:t>
            </a:r>
            <a:r>
              <a:rPr lang="de-DE" sz="2400" b="0" dirty="0" err="1"/>
              <a:t>Get</a:t>
            </a:r>
            <a:r>
              <a:rPr lang="de-DE" sz="2400" b="0" dirty="0"/>
              <a:t> Lost…in Time and Space!“</a:t>
            </a:r>
            <a:endParaRPr lang="de-DE" b="0" dirty="0"/>
          </a:p>
        </p:txBody>
      </p:sp>
      <p:pic>
        <p:nvPicPr>
          <p:cNvPr id="3" name="Grafik 2">
            <a:extLst>
              <a:ext uri="{FF2B5EF4-FFF2-40B4-BE49-F238E27FC236}">
                <a16:creationId xmlns:a16="http://schemas.microsoft.com/office/drawing/2014/main" id="{C524F229-A459-B9A7-F388-60C863942625}"/>
              </a:ext>
            </a:extLst>
          </p:cNvPr>
          <p:cNvPicPr>
            <a:picLocks noChangeAspect="1"/>
          </p:cNvPicPr>
          <p:nvPr/>
        </p:nvPicPr>
        <p:blipFill rotWithShape="1">
          <a:blip r:embed="rId3"/>
          <a:srcRect t="20969" b="6748"/>
          <a:stretch/>
        </p:blipFill>
        <p:spPr>
          <a:xfrm>
            <a:off x="511400" y="4015571"/>
            <a:ext cx="4452484" cy="2414527"/>
          </a:xfrm>
          <a:prstGeom prst="rect">
            <a:avLst/>
          </a:prstGeom>
        </p:spPr>
      </p:pic>
      <p:pic>
        <p:nvPicPr>
          <p:cNvPr id="14" name="Grafik 13">
            <a:extLst>
              <a:ext uri="{FF2B5EF4-FFF2-40B4-BE49-F238E27FC236}">
                <a16:creationId xmlns:a16="http://schemas.microsoft.com/office/drawing/2014/main" id="{82D64C45-009F-9D09-D21B-EF5B6576C915}"/>
              </a:ext>
            </a:extLst>
          </p:cNvPr>
          <p:cNvPicPr>
            <a:picLocks noChangeAspect="1"/>
          </p:cNvPicPr>
          <p:nvPr/>
        </p:nvPicPr>
        <p:blipFill>
          <a:blip r:embed="rId4"/>
          <a:stretch>
            <a:fillRect/>
          </a:stretch>
        </p:blipFill>
        <p:spPr>
          <a:xfrm>
            <a:off x="5463715" y="4017426"/>
            <a:ext cx="3178312" cy="2384456"/>
          </a:xfrm>
          <a:prstGeom prst="rect">
            <a:avLst/>
          </a:prstGeom>
        </p:spPr>
      </p:pic>
      <p:pic>
        <p:nvPicPr>
          <p:cNvPr id="18" name="Grafik 17" descr="Ein Bild, das Kleidung, Wand, Im Haus, Person enthält.&#10;&#10;Automatisch generierte Beschreibung">
            <a:extLst>
              <a:ext uri="{FF2B5EF4-FFF2-40B4-BE49-F238E27FC236}">
                <a16:creationId xmlns:a16="http://schemas.microsoft.com/office/drawing/2014/main" id="{D36FF393-A09E-2A62-F50A-2BF61BA7B5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400" y="1648446"/>
            <a:ext cx="2448000" cy="1836000"/>
          </a:xfrm>
          <a:prstGeom prst="rect">
            <a:avLst/>
          </a:prstGeom>
        </p:spPr>
      </p:pic>
      <p:pic>
        <p:nvPicPr>
          <p:cNvPr id="20" name="Grafik 19">
            <a:extLst>
              <a:ext uri="{FF2B5EF4-FFF2-40B4-BE49-F238E27FC236}">
                <a16:creationId xmlns:a16="http://schemas.microsoft.com/office/drawing/2014/main" id="{B0060DA6-A967-D9FA-96A8-F8C00753293E}"/>
              </a:ext>
            </a:extLst>
          </p:cNvPr>
          <p:cNvPicPr>
            <a:picLocks noChangeAspect="1"/>
          </p:cNvPicPr>
          <p:nvPr/>
        </p:nvPicPr>
        <p:blipFill>
          <a:blip r:embed="rId6"/>
          <a:stretch>
            <a:fillRect/>
          </a:stretch>
        </p:blipFill>
        <p:spPr>
          <a:xfrm>
            <a:off x="3437298" y="1647835"/>
            <a:ext cx="2448000" cy="1836555"/>
          </a:xfrm>
          <a:prstGeom prst="rect">
            <a:avLst/>
          </a:prstGeom>
        </p:spPr>
      </p:pic>
      <p:pic>
        <p:nvPicPr>
          <p:cNvPr id="22" name="Grafik 21" descr="Ein Bild, das Wand, Im Haus, Kleidung, Person enthält.&#10;&#10;Automatisch generierte Beschreibung">
            <a:extLst>
              <a:ext uri="{FF2B5EF4-FFF2-40B4-BE49-F238E27FC236}">
                <a16:creationId xmlns:a16="http://schemas.microsoft.com/office/drawing/2014/main" id="{56D8D06E-37A1-AFF3-6018-AB61DB7AE7FA}"/>
              </a:ext>
            </a:extLst>
          </p:cNvPr>
          <p:cNvPicPr>
            <a:picLocks noChangeAspect="1"/>
          </p:cNvPicPr>
          <p:nvPr/>
        </p:nvPicPr>
        <p:blipFill>
          <a:blip r:embed="rId7">
            <a:extLst>
              <a:ext uri="{28A0092B-C50C-407E-A947-70E740481C1C}">
                <a14:useLocalDpi xmlns:a14="http://schemas.microsoft.com/office/drawing/2010/main" val="0"/>
              </a:ext>
            </a:extLst>
          </a:blip>
          <a:srcRect l="6798" r="45238" b="16061"/>
          <a:stretch/>
        </p:blipFill>
        <p:spPr>
          <a:xfrm rot="5400000">
            <a:off x="9576008" y="1390007"/>
            <a:ext cx="1836000" cy="2409826"/>
          </a:xfrm>
          <a:prstGeom prst="rect">
            <a:avLst/>
          </a:prstGeom>
        </p:spPr>
      </p:pic>
      <p:pic>
        <p:nvPicPr>
          <p:cNvPr id="23" name="Grafik 22" descr="Ein Bild, das Kleidung, Person, Im Haus, Wand enthält.&#10;&#10;Automatisch generierte Beschreibung">
            <a:extLst>
              <a:ext uri="{FF2B5EF4-FFF2-40B4-BE49-F238E27FC236}">
                <a16:creationId xmlns:a16="http://schemas.microsoft.com/office/drawing/2014/main" id="{4587B928-D20D-3449-CB2E-AC00F849EB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63196" y="1676920"/>
            <a:ext cx="2448000" cy="1836000"/>
          </a:xfrm>
          <a:prstGeom prst="rect">
            <a:avLst/>
          </a:prstGeom>
        </p:spPr>
      </p:pic>
      <p:sp>
        <p:nvSpPr>
          <p:cNvPr id="25" name="Textfeld 24">
            <a:extLst>
              <a:ext uri="{FF2B5EF4-FFF2-40B4-BE49-F238E27FC236}">
                <a16:creationId xmlns:a16="http://schemas.microsoft.com/office/drawing/2014/main" id="{85EA744E-41F8-420E-08F5-9593018005E0}"/>
              </a:ext>
            </a:extLst>
          </p:cNvPr>
          <p:cNvSpPr txBox="1"/>
          <p:nvPr/>
        </p:nvSpPr>
        <p:spPr>
          <a:xfrm>
            <a:off x="7257554" y="3520536"/>
            <a:ext cx="3571761" cy="276999"/>
          </a:xfrm>
          <a:prstGeom prst="rect">
            <a:avLst/>
          </a:prstGeom>
          <a:noFill/>
        </p:spPr>
        <p:txBody>
          <a:bodyPr wrap="square" lIns="0" tIns="0" rIns="0" bIns="0" rtlCol="0">
            <a:spAutoFit/>
          </a:bodyPr>
          <a:lstStyle/>
          <a:p>
            <a:pPr algn="ctr"/>
            <a:r>
              <a:rPr lang="de-DE" b="1" dirty="0"/>
              <a:t>Museum für Lackkunst</a:t>
            </a:r>
          </a:p>
        </p:txBody>
      </p:sp>
      <p:sp>
        <p:nvSpPr>
          <p:cNvPr id="26" name="Textfeld 25">
            <a:extLst>
              <a:ext uri="{FF2B5EF4-FFF2-40B4-BE49-F238E27FC236}">
                <a16:creationId xmlns:a16="http://schemas.microsoft.com/office/drawing/2014/main" id="{B35AF0EF-AE78-F764-2623-4C7E82BE6E15}"/>
              </a:ext>
            </a:extLst>
          </p:cNvPr>
          <p:cNvSpPr txBox="1"/>
          <p:nvPr/>
        </p:nvSpPr>
        <p:spPr>
          <a:xfrm>
            <a:off x="331095" y="3499728"/>
            <a:ext cx="5727923" cy="276999"/>
          </a:xfrm>
          <a:prstGeom prst="rect">
            <a:avLst/>
          </a:prstGeom>
          <a:noFill/>
        </p:spPr>
        <p:txBody>
          <a:bodyPr wrap="square" lIns="0" tIns="0" rIns="0" bIns="0" rtlCol="0">
            <a:spAutoFit/>
          </a:bodyPr>
          <a:lstStyle/>
          <a:p>
            <a:pPr algn="ctr"/>
            <a:r>
              <a:rPr lang="de-DE" b="1" dirty="0"/>
              <a:t>Impuls von der Futurologin Alice Rombach</a:t>
            </a:r>
          </a:p>
        </p:txBody>
      </p:sp>
      <p:sp>
        <p:nvSpPr>
          <p:cNvPr id="30" name="Textfeld 29">
            <a:extLst>
              <a:ext uri="{FF2B5EF4-FFF2-40B4-BE49-F238E27FC236}">
                <a16:creationId xmlns:a16="http://schemas.microsoft.com/office/drawing/2014/main" id="{D2CD9F79-0DD1-25AB-F9DD-0C6572641999}"/>
              </a:ext>
            </a:extLst>
          </p:cNvPr>
          <p:cNvSpPr txBox="1"/>
          <p:nvPr/>
        </p:nvSpPr>
        <p:spPr>
          <a:xfrm>
            <a:off x="3445584" y="6447780"/>
            <a:ext cx="3571761" cy="276999"/>
          </a:xfrm>
          <a:prstGeom prst="rect">
            <a:avLst/>
          </a:prstGeom>
          <a:noFill/>
        </p:spPr>
        <p:txBody>
          <a:bodyPr wrap="square" lIns="0" tIns="0" rIns="0" bIns="0" rtlCol="0">
            <a:spAutoFit/>
          </a:bodyPr>
          <a:lstStyle/>
          <a:p>
            <a:r>
              <a:rPr lang="de-DE" b="1"/>
              <a:t>Design Studio – BASF Coatings</a:t>
            </a:r>
          </a:p>
        </p:txBody>
      </p:sp>
      <p:sp>
        <p:nvSpPr>
          <p:cNvPr id="31" name="Denkblase: wolkenförmig 30">
            <a:extLst>
              <a:ext uri="{FF2B5EF4-FFF2-40B4-BE49-F238E27FC236}">
                <a16:creationId xmlns:a16="http://schemas.microsoft.com/office/drawing/2014/main" id="{5CC4C52E-EA82-38DA-3558-C93DB5359169}"/>
              </a:ext>
            </a:extLst>
          </p:cNvPr>
          <p:cNvSpPr/>
          <p:nvPr/>
        </p:nvSpPr>
        <p:spPr>
          <a:xfrm>
            <a:off x="8954860" y="3742943"/>
            <a:ext cx="3001387" cy="1971414"/>
          </a:xfrm>
          <a:prstGeom prst="cloudCallout">
            <a:avLst>
              <a:gd name="adj1" fmla="val -70155"/>
              <a:gd name="adj2" fmla="val 3318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dirty="0"/>
              <a:t>Wie sieht eine nachhaltige Zukunft aus, in der wir leben möchten?</a:t>
            </a:r>
          </a:p>
        </p:txBody>
      </p:sp>
      <p:sp>
        <p:nvSpPr>
          <p:cNvPr id="4" name="Foliennummernplatzhalter 3">
            <a:extLst>
              <a:ext uri="{FF2B5EF4-FFF2-40B4-BE49-F238E27FC236}">
                <a16:creationId xmlns:a16="http://schemas.microsoft.com/office/drawing/2014/main" id="{2B8C8581-903D-B4A4-BE02-CC60863E0973}"/>
              </a:ext>
            </a:extLst>
          </p:cNvPr>
          <p:cNvSpPr>
            <a:spLocks noGrp="1"/>
          </p:cNvSpPr>
          <p:nvPr>
            <p:ph type="sldNum" sz="quarter" idx="4"/>
          </p:nvPr>
        </p:nvSpPr>
        <p:spPr/>
        <p:txBody>
          <a:bodyPr/>
          <a:lstStyle/>
          <a:p>
            <a:fld id="{82EA1D04-CA53-4DE3-84A8-2B63E41036C9}" type="slidenum">
              <a:rPr lang="de-DE" smtClean="0"/>
              <a:pPr/>
              <a:t>11</a:t>
            </a:fld>
            <a:endParaRPr lang="de-DE"/>
          </a:p>
        </p:txBody>
      </p:sp>
    </p:spTree>
    <p:extLst>
      <p:ext uri="{BB962C8B-B14F-4D97-AF65-F5344CB8AC3E}">
        <p14:creationId xmlns:p14="http://schemas.microsoft.com/office/powerpoint/2010/main" val="31090922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116203-FFA8-6DFE-63AF-05009A78A135}"/>
              </a:ext>
            </a:extLst>
          </p:cNvPr>
          <p:cNvSpPr>
            <a:spLocks noGrp="1"/>
          </p:cNvSpPr>
          <p:nvPr>
            <p:ph type="title"/>
          </p:nvPr>
        </p:nvSpPr>
        <p:spPr>
          <a:xfrm>
            <a:off x="218334" y="430442"/>
            <a:ext cx="6710367" cy="853200"/>
          </a:xfrm>
        </p:spPr>
        <p:txBody>
          <a:bodyPr/>
          <a:lstStyle/>
          <a:p>
            <a:r>
              <a:rPr lang="en-US" dirty="0"/>
              <a:t>Das </a:t>
            </a:r>
            <a:r>
              <a:rPr lang="en-US" dirty="0" err="1"/>
              <a:t>Zukunftsbild</a:t>
            </a:r>
            <a:r>
              <a:rPr lang="en-US" dirty="0"/>
              <a:t> </a:t>
            </a:r>
            <a:r>
              <a:rPr lang="en-US" dirty="0" err="1"/>
              <a:t>Nachhaltigkeit</a:t>
            </a:r>
            <a:r>
              <a:rPr lang="en-US" dirty="0"/>
              <a:t> </a:t>
            </a:r>
            <a:r>
              <a:rPr lang="en-US" dirty="0" err="1"/>
              <a:t>setzt</a:t>
            </a:r>
            <a:r>
              <a:rPr lang="en-US" dirty="0"/>
              <a:t> </a:t>
            </a:r>
            <a:r>
              <a:rPr lang="en-US" dirty="0" err="1"/>
              <a:t>vielfach</a:t>
            </a:r>
            <a:r>
              <a:rPr lang="en-US" dirty="0"/>
              <a:t> </a:t>
            </a:r>
            <a:r>
              <a:rPr lang="en-US" dirty="0" err="1"/>
              <a:t>Potenzial</a:t>
            </a:r>
            <a:r>
              <a:rPr lang="en-US" dirty="0"/>
              <a:t> </a:t>
            </a:r>
            <a:r>
              <a:rPr lang="en-US" dirty="0" err="1"/>
              <a:t>im</a:t>
            </a:r>
            <a:r>
              <a:rPr lang="en-US" dirty="0"/>
              <a:t> </a:t>
            </a:r>
            <a:r>
              <a:rPr lang="en-US" dirty="0" err="1"/>
              <a:t>Unternehmen</a:t>
            </a:r>
            <a:r>
              <a:rPr lang="en-US" dirty="0"/>
              <a:t> </a:t>
            </a:r>
            <a:r>
              <a:rPr lang="en-US" dirty="0" err="1"/>
              <a:t>frei</a:t>
            </a:r>
            <a:endParaRPr lang="en-US" dirty="0"/>
          </a:p>
        </p:txBody>
      </p:sp>
      <p:pic>
        <p:nvPicPr>
          <p:cNvPr id="4" name="Google Shape;1516;g291664d05b2_0_12">
            <a:extLst>
              <a:ext uri="{FF2B5EF4-FFF2-40B4-BE49-F238E27FC236}">
                <a16:creationId xmlns:a16="http://schemas.microsoft.com/office/drawing/2014/main" id="{40ABC7E8-2B41-E030-CFB2-AFC2417B347F}"/>
              </a:ext>
            </a:extLst>
          </p:cNvPr>
          <p:cNvPicPr>
            <a:picLocks noChangeAspect="1"/>
          </p:cNvPicPr>
          <p:nvPr/>
        </p:nvPicPr>
        <p:blipFill>
          <a:blip r:embed="rId3">
            <a:alphaModFix/>
          </a:blip>
          <a:stretch>
            <a:fillRect/>
          </a:stretch>
        </p:blipFill>
        <p:spPr>
          <a:xfrm>
            <a:off x="6714356" y="-1460132"/>
            <a:ext cx="6318848" cy="5991799"/>
          </a:xfrm>
          <a:prstGeom prst="rect">
            <a:avLst/>
          </a:prstGeom>
          <a:noFill/>
          <a:ln>
            <a:noFill/>
          </a:ln>
        </p:spPr>
      </p:pic>
      <p:sp>
        <p:nvSpPr>
          <p:cNvPr id="12" name="Rechteck 11">
            <a:extLst>
              <a:ext uri="{FF2B5EF4-FFF2-40B4-BE49-F238E27FC236}">
                <a16:creationId xmlns:a16="http://schemas.microsoft.com/office/drawing/2014/main" id="{78B53171-8CA3-2AD7-761E-3A8AE557C0B2}"/>
              </a:ext>
            </a:extLst>
          </p:cNvPr>
          <p:cNvSpPr/>
          <p:nvPr/>
        </p:nvSpPr>
        <p:spPr>
          <a:xfrm>
            <a:off x="218334" y="2542081"/>
            <a:ext cx="2287766" cy="316800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dirty="0"/>
              <a:t>People Empowerment</a:t>
            </a:r>
          </a:p>
          <a:p>
            <a:pPr algn="ctr"/>
            <a:endParaRPr lang="de-DE" sz="2000" b="1" dirty="0"/>
          </a:p>
          <a:p>
            <a:pPr algn="ctr"/>
            <a:endParaRPr lang="de-DE" sz="2000" b="1" dirty="0"/>
          </a:p>
          <a:p>
            <a:pPr algn="ctr"/>
            <a:endParaRPr lang="de-DE" sz="2000" b="1" dirty="0"/>
          </a:p>
          <a:p>
            <a:pPr algn="ctr"/>
            <a:endParaRPr lang="de-DE" sz="2000" b="1" dirty="0"/>
          </a:p>
          <a:p>
            <a:pPr algn="ctr"/>
            <a:endParaRPr lang="de-DE" sz="2000" b="1" dirty="0"/>
          </a:p>
        </p:txBody>
      </p:sp>
      <p:sp>
        <p:nvSpPr>
          <p:cNvPr id="13" name="Rechteck 12">
            <a:extLst>
              <a:ext uri="{FF2B5EF4-FFF2-40B4-BE49-F238E27FC236}">
                <a16:creationId xmlns:a16="http://schemas.microsoft.com/office/drawing/2014/main" id="{FA2C136C-435A-33E7-D460-49A7A6E367E9}"/>
              </a:ext>
            </a:extLst>
          </p:cNvPr>
          <p:cNvSpPr/>
          <p:nvPr/>
        </p:nvSpPr>
        <p:spPr>
          <a:xfrm>
            <a:off x="2623109" y="2542081"/>
            <a:ext cx="2287766" cy="316800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t>Innovation</a:t>
            </a:r>
          </a:p>
          <a:p>
            <a:pPr algn="ctr"/>
            <a:r>
              <a:rPr lang="de-DE" sz="2000" b="1"/>
              <a:t>Boost</a:t>
            </a:r>
          </a:p>
          <a:p>
            <a:pPr algn="ctr"/>
            <a:endParaRPr lang="de-DE" sz="2000" b="1"/>
          </a:p>
          <a:p>
            <a:pPr algn="ctr"/>
            <a:endParaRPr lang="de-DE" sz="2000" b="1"/>
          </a:p>
          <a:p>
            <a:pPr algn="ctr"/>
            <a:endParaRPr lang="de-DE" sz="2000" b="1"/>
          </a:p>
          <a:p>
            <a:pPr algn="ctr"/>
            <a:endParaRPr lang="de-DE" sz="2000" b="1"/>
          </a:p>
          <a:p>
            <a:pPr algn="ctr"/>
            <a:endParaRPr lang="de-DE" sz="2000" b="1"/>
          </a:p>
        </p:txBody>
      </p:sp>
      <p:sp>
        <p:nvSpPr>
          <p:cNvPr id="14" name="Rechteck 13">
            <a:extLst>
              <a:ext uri="{FF2B5EF4-FFF2-40B4-BE49-F238E27FC236}">
                <a16:creationId xmlns:a16="http://schemas.microsoft.com/office/drawing/2014/main" id="{236E4005-B775-65CA-FB0F-755C309FA48F}"/>
              </a:ext>
            </a:extLst>
          </p:cNvPr>
          <p:cNvSpPr/>
          <p:nvPr/>
        </p:nvSpPr>
        <p:spPr>
          <a:xfrm>
            <a:off x="5030473" y="2542081"/>
            <a:ext cx="2287766" cy="316800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err="1"/>
              <a:t>Collaboration</a:t>
            </a:r>
            <a:r>
              <a:rPr lang="de-DE" sz="2000" b="1"/>
              <a:t> Invitation</a:t>
            </a:r>
          </a:p>
          <a:p>
            <a:pPr algn="ctr"/>
            <a:endParaRPr lang="de-DE" sz="2000" b="1"/>
          </a:p>
          <a:p>
            <a:pPr algn="ctr"/>
            <a:endParaRPr lang="de-DE" sz="2000" b="1"/>
          </a:p>
          <a:p>
            <a:pPr algn="ctr"/>
            <a:endParaRPr lang="de-DE" sz="2000" b="1"/>
          </a:p>
          <a:p>
            <a:pPr algn="ctr"/>
            <a:endParaRPr lang="de-DE" sz="2000" b="1"/>
          </a:p>
          <a:p>
            <a:pPr algn="ctr"/>
            <a:endParaRPr lang="de-DE" sz="2000" b="1"/>
          </a:p>
        </p:txBody>
      </p:sp>
      <p:pic>
        <p:nvPicPr>
          <p:cNvPr id="22" name="Grafik 21" descr="Lichter an Silhouette">
            <a:extLst>
              <a:ext uri="{FF2B5EF4-FFF2-40B4-BE49-F238E27FC236}">
                <a16:creationId xmlns:a16="http://schemas.microsoft.com/office/drawing/2014/main" id="{0FD42B2F-3297-10C6-26F3-7072BFA844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26992" y="4242232"/>
            <a:ext cx="1080000" cy="1080000"/>
          </a:xfrm>
          <a:prstGeom prst="rect">
            <a:avLst/>
          </a:prstGeom>
        </p:spPr>
      </p:pic>
      <p:pic>
        <p:nvPicPr>
          <p:cNvPr id="26" name="Grafik 25" descr="Muskulöser Arm Silhouette">
            <a:extLst>
              <a:ext uri="{FF2B5EF4-FFF2-40B4-BE49-F238E27FC236}">
                <a16:creationId xmlns:a16="http://schemas.microsoft.com/office/drawing/2014/main" id="{E08ECD59-369C-84BB-D88F-F2CB473CF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2217" y="4242232"/>
            <a:ext cx="1080000" cy="1080000"/>
          </a:xfrm>
          <a:prstGeom prst="rect">
            <a:avLst/>
          </a:prstGeom>
        </p:spPr>
      </p:pic>
      <p:pic>
        <p:nvPicPr>
          <p:cNvPr id="28" name="Grafik 27" descr="Prost mit einfarbiger Füllung">
            <a:extLst>
              <a:ext uri="{FF2B5EF4-FFF2-40B4-BE49-F238E27FC236}">
                <a16:creationId xmlns:a16="http://schemas.microsoft.com/office/drawing/2014/main" id="{7393492E-8DB2-2E79-9E28-840160ED99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34356" y="4242232"/>
            <a:ext cx="1080000" cy="1080000"/>
          </a:xfrm>
          <a:prstGeom prst="rect">
            <a:avLst/>
          </a:prstGeom>
        </p:spPr>
      </p:pic>
      <p:sp>
        <p:nvSpPr>
          <p:cNvPr id="3" name="Foliennummernplatzhalter 2">
            <a:extLst>
              <a:ext uri="{FF2B5EF4-FFF2-40B4-BE49-F238E27FC236}">
                <a16:creationId xmlns:a16="http://schemas.microsoft.com/office/drawing/2014/main" id="{AFC1D5C3-9F46-DBBB-537D-90723B3A637D}"/>
              </a:ext>
            </a:extLst>
          </p:cNvPr>
          <p:cNvSpPr>
            <a:spLocks noGrp="1"/>
          </p:cNvSpPr>
          <p:nvPr>
            <p:ph type="sldNum" sz="quarter" idx="4"/>
          </p:nvPr>
        </p:nvSpPr>
        <p:spPr/>
        <p:txBody>
          <a:bodyPr/>
          <a:lstStyle/>
          <a:p>
            <a:fld id="{82EA1D04-CA53-4DE3-84A8-2B63E41036C9}" type="slidenum">
              <a:rPr lang="de-DE" smtClean="0"/>
              <a:pPr/>
              <a:t>12</a:t>
            </a:fld>
            <a:endParaRPr lang="de-DE"/>
          </a:p>
        </p:txBody>
      </p:sp>
    </p:spTree>
    <p:extLst>
      <p:ext uri="{BB962C8B-B14F-4D97-AF65-F5344CB8AC3E}">
        <p14:creationId xmlns:p14="http://schemas.microsoft.com/office/powerpoint/2010/main" val="2126465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20"/>
        <p:cNvGrpSpPr/>
        <p:nvPr/>
      </p:nvGrpSpPr>
      <p:grpSpPr>
        <a:xfrm>
          <a:off x="0" y="0"/>
          <a:ext cx="0" cy="0"/>
          <a:chOff x="0" y="0"/>
          <a:chExt cx="0" cy="0"/>
        </a:xfrm>
      </p:grpSpPr>
      <p:sp>
        <p:nvSpPr>
          <p:cNvPr id="1523" name="Google Shape;1523;g2a7f0bc11f4_0_0"/>
          <p:cNvSpPr txBox="1">
            <a:spLocks noGrp="1"/>
          </p:cNvSpPr>
          <p:nvPr>
            <p:ph type="title"/>
          </p:nvPr>
        </p:nvSpPr>
        <p:spPr>
          <a:xfrm>
            <a:off x="4932375" y="2377627"/>
            <a:ext cx="5865600" cy="457200"/>
          </a:xfrm>
          <a:prstGeom prst="rect">
            <a:avLst/>
          </a:prstGeom>
          <a:noFill/>
          <a:ln>
            <a:noFill/>
          </a:ln>
        </p:spPr>
        <p:txBody>
          <a:bodyPr spcFirstLastPara="1" wrap="square" lIns="0" tIns="0" rIns="0" bIns="0" anchor="t" anchorCtr="0">
            <a:noAutofit/>
          </a:bodyPr>
          <a:lstStyle/>
          <a:p>
            <a:pPr>
              <a:spcBef>
                <a:spcPts val="0"/>
              </a:spcBef>
              <a:buSzPts val="2800"/>
            </a:pPr>
            <a:r>
              <a:rPr lang="de-DE" dirty="0"/>
              <a:t>Kenne die Auswirkungen</a:t>
            </a:r>
            <a:endParaRPr dirty="0"/>
          </a:p>
        </p:txBody>
      </p:sp>
      <p:sp>
        <p:nvSpPr>
          <p:cNvPr id="1524" name="Google Shape;1524;g2a7f0bc11f4_0_0"/>
          <p:cNvSpPr txBox="1"/>
          <p:nvPr/>
        </p:nvSpPr>
        <p:spPr>
          <a:xfrm>
            <a:off x="4856175" y="3024044"/>
            <a:ext cx="5793000" cy="1777379"/>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rPr>
              <a:t>Eine nachhaltige, wünschenswerte Zukunft gestalten durch verantwortungsvolle Entscheidungen auf der Grundlage hochwertiger Daten zur Nachhaltigkeit </a:t>
            </a:r>
            <a:br>
              <a:rPr lang="de-DE" i="1" dirty="0">
                <a:solidFill>
                  <a:schemeClr val="dk1"/>
                </a:solidFill>
              </a:rPr>
            </a:br>
            <a:r>
              <a:rPr lang="de-DE" i="1" dirty="0">
                <a:solidFill>
                  <a:schemeClr val="dk1"/>
                </a:solidFill>
              </a:rPr>
              <a:t>von Produkten und Prozessen.</a:t>
            </a:r>
            <a:endParaRPr i="1" dirty="0">
              <a:solidFill>
                <a:schemeClr val="dk1"/>
              </a:solidFill>
            </a:endParaRPr>
          </a:p>
          <a:p>
            <a:pPr marL="0" lvl="0" indent="0" algn="l" rtl="0">
              <a:lnSpc>
                <a:spcPct val="115000"/>
              </a:lnSpc>
              <a:spcBef>
                <a:spcPts val="0"/>
              </a:spcBef>
              <a:spcAft>
                <a:spcPts val="0"/>
              </a:spcAft>
              <a:buNone/>
            </a:pPr>
            <a:endParaRPr i="1" dirty="0">
              <a:solidFill>
                <a:schemeClr val="dk1"/>
              </a:solidFill>
            </a:endParaRPr>
          </a:p>
        </p:txBody>
      </p:sp>
      <p:pic>
        <p:nvPicPr>
          <p:cNvPr id="1525" name="Google Shape;1525;g2a7f0bc11f4_0_0"/>
          <p:cNvPicPr preferRelativeResize="0">
            <a:picLocks noChangeAspect="1"/>
          </p:cNvPicPr>
          <p:nvPr/>
        </p:nvPicPr>
        <p:blipFill>
          <a:blip r:embed="rId3">
            <a:alphaModFix/>
          </a:blip>
          <a:stretch>
            <a:fillRect/>
          </a:stretch>
        </p:blipFill>
        <p:spPr>
          <a:xfrm>
            <a:off x="1858906" y="639649"/>
            <a:ext cx="2911055" cy="5879575"/>
          </a:xfrm>
          <a:prstGeom prst="rect">
            <a:avLst/>
          </a:prstGeom>
          <a:noFill/>
          <a:ln>
            <a:noFill/>
          </a:ln>
        </p:spPr>
      </p:pic>
      <p:pic>
        <p:nvPicPr>
          <p:cNvPr id="2" name="Google Shape;1516;g291664d05b2_0_12">
            <a:extLst>
              <a:ext uri="{FF2B5EF4-FFF2-40B4-BE49-F238E27FC236}">
                <a16:creationId xmlns:a16="http://schemas.microsoft.com/office/drawing/2014/main" id="{A007A115-787D-871F-89A7-26447434B5CA}"/>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8D5AF3E3-88C5-DB72-CC69-BE55D32563C2}"/>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3</a:t>
            </a:fld>
            <a:endParaRPr lang="de-DE"/>
          </a:p>
        </p:txBody>
      </p:sp>
    </p:spTree>
    <p:extLst>
      <p:ext uri="{BB962C8B-B14F-4D97-AF65-F5344CB8AC3E}">
        <p14:creationId xmlns:p14="http://schemas.microsoft.com/office/powerpoint/2010/main" val="2311500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572"/>
        <p:cNvGrpSpPr/>
        <p:nvPr/>
      </p:nvGrpSpPr>
      <p:grpSpPr>
        <a:xfrm>
          <a:off x="0" y="0"/>
          <a:ext cx="0" cy="0"/>
          <a:chOff x="0" y="0"/>
          <a:chExt cx="0" cy="0"/>
        </a:xfrm>
      </p:grpSpPr>
      <p:sp>
        <p:nvSpPr>
          <p:cNvPr id="1575" name="Google Shape;1575;g28c66a67f99_0_2618"/>
          <p:cNvSpPr txBox="1"/>
          <p:nvPr/>
        </p:nvSpPr>
        <p:spPr>
          <a:xfrm>
            <a:off x="5358875" y="1843125"/>
            <a:ext cx="6315000" cy="3504036"/>
          </a:xfrm>
          <a:prstGeom prst="rect">
            <a:avLst/>
          </a:prstGeom>
          <a:noFill/>
          <a:ln>
            <a:noFill/>
          </a:ln>
        </p:spPr>
        <p:txBody>
          <a:bodyPr spcFirstLastPara="1" wrap="square" lIns="0" tIns="0" rIns="0" bIns="0" anchor="t" anchorCtr="0">
            <a:spAutoFit/>
          </a:bodyPr>
          <a:lstStyle/>
          <a:p>
            <a:pPr lvl="0">
              <a:lnSpc>
                <a:spcPct val="115000"/>
              </a:lnSpc>
              <a:buClr>
                <a:schemeClr val="dk1"/>
              </a:buClr>
              <a:buSzPts val="1100"/>
            </a:pPr>
            <a:r>
              <a:rPr lang="de-DE" i="1" dirty="0">
                <a:solidFill>
                  <a:schemeClr val="dk1"/>
                </a:solidFill>
              </a:rPr>
              <a:t>“Hey, hört euch das an! Ich bin gerade auf Geschäftsreise, und, so wie ich halt bin, ist es mir total wichtig meinen persönlichen CO₂-Fußabdruck so gering wie möglich zu halten. Jedenfalls habe ich es bereits auf dem nachhaltigsten Weg hierher geschafft. Es gibt diese großartige App, die sich genau darauf spezialisiert hat! Es gibt mir verschiedene Optionen für umweltfreundliche Transportmittel, und ihr werdet nicht glauben, was ich gewählt habe - ein Hoverboard! Könnt ihr euch das vorstellen? Ich wollte schon immer mal eins ausprobieren, und es hat sich herausgestellt, dass es auch die nachhaltigste Wahl ist. Wie abgefahren!”</a:t>
            </a:r>
            <a:endParaRPr i="1" dirty="0">
              <a:solidFill>
                <a:schemeClr val="dk1"/>
              </a:solidFill>
            </a:endParaRPr>
          </a:p>
        </p:txBody>
      </p:sp>
      <p:sp>
        <p:nvSpPr>
          <p:cNvPr id="1576" name="Google Shape;1576;g28c66a67f99_0_2618"/>
          <p:cNvSpPr txBox="1"/>
          <p:nvPr/>
        </p:nvSpPr>
        <p:spPr>
          <a:xfrm>
            <a:off x="5299172" y="5542961"/>
            <a:ext cx="5285400" cy="215400"/>
          </a:xfrm>
          <a:prstGeom prst="rect">
            <a:avLst/>
          </a:prstGeom>
          <a:noFill/>
          <a:ln>
            <a:noFill/>
          </a:ln>
        </p:spPr>
        <p:txBody>
          <a:bodyPr spcFirstLastPara="1" wrap="square" lIns="0" tIns="0" rIns="0" bIns="0" anchor="t" anchorCtr="0">
            <a:spAutoFit/>
          </a:bodyPr>
          <a:lstStyle/>
          <a:p>
            <a:pPr lvl="0">
              <a:buSzPts val="1100"/>
            </a:pPr>
            <a:r>
              <a:rPr lang="de-DE" b="1" i="1" dirty="0">
                <a:solidFill>
                  <a:srgbClr val="004A96"/>
                </a:solidFill>
              </a:rPr>
              <a:t>Noah, Vertriebsleiter</a:t>
            </a:r>
            <a:endParaRPr b="1" i="1" dirty="0">
              <a:solidFill>
                <a:srgbClr val="004A96"/>
              </a:solidFill>
            </a:endParaRPr>
          </a:p>
        </p:txBody>
      </p:sp>
      <p:sp>
        <p:nvSpPr>
          <p:cNvPr id="1577" name="Google Shape;1577;g28c66a67f99_0_2618"/>
          <p:cNvSpPr txBox="1">
            <a:spLocks noGrp="1"/>
          </p:cNvSpPr>
          <p:nvPr>
            <p:ph type="title"/>
          </p:nvPr>
        </p:nvSpPr>
        <p:spPr>
          <a:xfrm>
            <a:off x="5358875" y="1087825"/>
            <a:ext cx="6315000" cy="451800"/>
          </a:xfrm>
          <a:prstGeom prst="rect">
            <a:avLst/>
          </a:prstGeom>
          <a:noFill/>
          <a:ln>
            <a:noFill/>
          </a:ln>
        </p:spPr>
        <p:txBody>
          <a:bodyPr spcFirstLastPara="1" wrap="square" lIns="0" tIns="0" rIns="0" bIns="0" anchor="t" anchorCtr="0">
            <a:noAutofit/>
          </a:bodyPr>
          <a:lstStyle/>
          <a:p>
            <a:pPr lvl="0">
              <a:spcBef>
                <a:spcPts val="0"/>
              </a:spcBef>
              <a:buClr>
                <a:schemeClr val="dk1"/>
              </a:buClr>
              <a:buSzPts val="1100"/>
            </a:pPr>
            <a:r>
              <a:rPr lang="de-DE" dirty="0"/>
              <a:t>CO₂-Berechnung to </a:t>
            </a:r>
            <a:r>
              <a:rPr lang="de-DE" dirty="0" err="1"/>
              <a:t>go</a:t>
            </a:r>
            <a:endParaRPr dirty="0"/>
          </a:p>
        </p:txBody>
      </p:sp>
      <p:pic>
        <p:nvPicPr>
          <p:cNvPr id="1582" name="Google Shape;1582;g28c66a67f99_0_2618"/>
          <p:cNvPicPr preferRelativeResize="0">
            <a:picLocks noChangeAspect="1"/>
          </p:cNvPicPr>
          <p:nvPr/>
        </p:nvPicPr>
        <p:blipFill rotWithShape="1">
          <a:blip r:embed="rId3">
            <a:alphaModFix/>
          </a:blip>
          <a:srcRect t="-14484" b="-14613"/>
          <a:stretch/>
        </p:blipFill>
        <p:spPr>
          <a:xfrm>
            <a:off x="1114723" y="1048732"/>
            <a:ext cx="3202914" cy="4760535"/>
          </a:xfrm>
          <a:prstGeom prst="rect">
            <a:avLst/>
          </a:prstGeom>
          <a:noFill/>
          <a:ln>
            <a:noFill/>
          </a:ln>
        </p:spPr>
      </p:pic>
      <p:pic>
        <p:nvPicPr>
          <p:cNvPr id="2" name="Google Shape;1516;g291664d05b2_0_12">
            <a:extLst>
              <a:ext uri="{FF2B5EF4-FFF2-40B4-BE49-F238E27FC236}">
                <a16:creationId xmlns:a16="http://schemas.microsoft.com/office/drawing/2014/main" id="{9D6B0B13-6318-B61A-B3A4-1812C5BA5F4E}"/>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08A44D02-EE5D-CEA5-8CA7-F01E21D8B956}"/>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4</a:t>
            </a:fld>
            <a:endParaRPr lang="de-DE"/>
          </a:p>
        </p:txBody>
      </p:sp>
    </p:spTree>
    <p:extLst>
      <p:ext uri="{BB962C8B-B14F-4D97-AF65-F5344CB8AC3E}">
        <p14:creationId xmlns:p14="http://schemas.microsoft.com/office/powerpoint/2010/main" val="4202253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586"/>
        <p:cNvGrpSpPr/>
        <p:nvPr/>
      </p:nvGrpSpPr>
      <p:grpSpPr>
        <a:xfrm>
          <a:off x="0" y="0"/>
          <a:ext cx="0" cy="0"/>
          <a:chOff x="0" y="0"/>
          <a:chExt cx="0" cy="0"/>
        </a:xfrm>
      </p:grpSpPr>
      <p:sp>
        <p:nvSpPr>
          <p:cNvPr id="1589" name="Google Shape;1589;g2a57c4556f4_3_31"/>
          <p:cNvSpPr txBox="1"/>
          <p:nvPr/>
        </p:nvSpPr>
        <p:spPr>
          <a:xfrm>
            <a:off x="5358875" y="1351008"/>
            <a:ext cx="6325800" cy="3719225"/>
          </a:xfrm>
          <a:prstGeom prst="rect">
            <a:avLst/>
          </a:prstGeom>
          <a:noFill/>
          <a:ln>
            <a:noFill/>
          </a:ln>
        </p:spPr>
        <p:txBody>
          <a:bodyPr spcFirstLastPara="1" wrap="square" lIns="0" tIns="0" rIns="0" bIns="0" anchor="t" anchorCtr="0">
            <a:noAutofit/>
          </a:bodyPr>
          <a:lstStyle/>
          <a:p>
            <a:pPr lvl="0">
              <a:spcBef>
                <a:spcPts val="600"/>
              </a:spcBef>
              <a:buClr>
                <a:srgbClr val="00B050"/>
              </a:buClr>
              <a:buSzPts val="900"/>
            </a:pPr>
            <a:r>
              <a:rPr lang="de-DE" sz="1000" dirty="0">
                <a:solidFill>
                  <a:schemeClr val="dk1"/>
                </a:solidFill>
              </a:rPr>
              <a:t>Um die Umweltbelastung zu minimieren, ist es wichtig, die Details und Auswirkungen von allem, was wir tun und verwenden, genau zu verstehen. Um fundierte und verantwortungsbewusste Entscheidungen zu treffen, muss über die bloße Auswahl von Optionen, die "grün" erscheinen, hinausgegangen werden. In Zukunft wird der Zugang zu Berechnungen des CO</a:t>
            </a:r>
            <a:r>
              <a:rPr lang="de-DE" sz="1000" baseline="-25000" dirty="0">
                <a:solidFill>
                  <a:schemeClr val="dk1"/>
                </a:solidFill>
              </a:rPr>
              <a:t>2</a:t>
            </a:r>
            <a:r>
              <a:rPr lang="de-DE" sz="1000" dirty="0">
                <a:solidFill>
                  <a:schemeClr val="dk1"/>
                </a:solidFill>
              </a:rPr>
              <a:t>-Fußabdrucks und anderer Nachhaltigkeitsaspekte sowohl im Alltag als auch im Geschäftsleben deutlich einfacher werden. Durch die Verwendung eines global harmonisierten Systems, das auf den gleichen Richtlinien und Annahmen basiert, werden Einzelpersonen und Unternehmen in der Lage sein, die Umweltauswirkungen von fast allem zu sehen, zu simulieren und vorherzusagen – einschließlich Produkten, Prozessen und im Grunde jeder unserer Handlungen. Dieser ganzheitliche Ansatz wird die gesamte Wertschöpfungskette umfassen und sich nicht nur auf einen Aspekt konzentrieren. 
Da das Bewusstsein und die Nachfrage nach nachhaltigen Praktiken wachsen, wird der Markt für Software und Berechnungstools, die Umweltauswirkungen effektiv bewerten und visualisieren können, wahrscheinlich expandieren. Indem Unternehmen mit den notwendigen Werkzeugen und Informationen ausgestattet werden, können sie verantwortungsvollere Entscheidungen treffen, die sowohl der Umwelt als auch ihrem Endergebnis zugute kommen und letztendlich zu einer nachhaltigeren Zukunft beitragen. 
Die Beteiligung von BASF an der Entwicklung von Berechnungsinstrumenten, die Zusammenarbeit mit anderen Unternehmen und Initiativen sowie die Partnerschaft mit Interessengruppen entlang der Wertschöpfungskette tragen aktiv zu dieser Initiative bei und ermöglichen es Unternehmen, fundiertere und verantwortungsvollere Entscheidungen zu treffen, die sowohl der Umwelt als auch ihrem Endergebnis zugute kommen und letztendlich zu einer nachhaltigeren Zukunft beitragen</a:t>
            </a:r>
          </a:p>
          <a:p>
            <a:pPr lvl="0">
              <a:buClr>
                <a:srgbClr val="00B050"/>
              </a:buClr>
              <a:buSzPts val="900"/>
            </a:pPr>
            <a:br>
              <a:rPr lang="de-DE" sz="1200" dirty="0">
                <a:solidFill>
                  <a:schemeClr val="dk1"/>
                </a:solidFill>
              </a:rPr>
            </a:br>
            <a:r>
              <a:rPr lang="de-DE" sz="1000" b="1" dirty="0">
                <a:solidFill>
                  <a:schemeClr val="dk1"/>
                </a:solidFill>
              </a:rPr>
              <a:t>Projekte: </a:t>
            </a:r>
            <a:r>
              <a:rPr lang="de-DE" sz="1000" dirty="0">
                <a:solidFill>
                  <a:schemeClr val="dk1"/>
                </a:solidFill>
              </a:rPr>
              <a:t>GLASS, SCOTT (PCF-Kalkulation), “Zero Carbon </a:t>
            </a:r>
            <a:r>
              <a:rPr lang="de-DE" sz="1000" dirty="0" err="1">
                <a:solidFill>
                  <a:schemeClr val="dk1"/>
                </a:solidFill>
              </a:rPr>
              <a:t>Paintshop</a:t>
            </a:r>
            <a:r>
              <a:rPr lang="de-DE" sz="1000" dirty="0">
                <a:solidFill>
                  <a:schemeClr val="dk1"/>
                </a:solidFill>
              </a:rPr>
              <a:t>”, Rechner “Carbon Footprint for </a:t>
            </a:r>
            <a:r>
              <a:rPr lang="de-DE" sz="1000" dirty="0" err="1">
                <a:solidFill>
                  <a:schemeClr val="dk1"/>
                </a:solidFill>
              </a:rPr>
              <a:t>Packaging</a:t>
            </a:r>
            <a:r>
              <a:rPr lang="de-DE" sz="1000" dirty="0">
                <a:solidFill>
                  <a:schemeClr val="dk1"/>
                </a:solidFill>
              </a:rPr>
              <a:t>”, “CO₂-</a:t>
            </a:r>
            <a:r>
              <a:rPr lang="de-DE" sz="1000" dirty="0" err="1">
                <a:solidFill>
                  <a:schemeClr val="dk1"/>
                </a:solidFill>
              </a:rPr>
              <a:t>Emissions</a:t>
            </a:r>
            <a:r>
              <a:rPr lang="de-DE" sz="1000" dirty="0">
                <a:solidFill>
                  <a:schemeClr val="dk1"/>
                </a:solidFill>
              </a:rPr>
              <a:t> for Transportation”, etc.</a:t>
            </a:r>
            <a:br>
              <a:rPr lang="de-DE" sz="1000" dirty="0">
                <a:solidFill>
                  <a:schemeClr val="dk1"/>
                </a:solidFill>
              </a:rPr>
            </a:br>
            <a:br>
              <a:rPr lang="de-DE" sz="1000" dirty="0">
                <a:solidFill>
                  <a:schemeClr val="dk1"/>
                </a:solidFill>
              </a:rPr>
            </a:br>
            <a:r>
              <a:rPr lang="de-DE" sz="1000" b="1" dirty="0">
                <a:solidFill>
                  <a:schemeClr val="dk1"/>
                </a:solidFill>
              </a:rPr>
              <a:t>Schlüsselwörter:</a:t>
            </a:r>
            <a:endParaRPr sz="1200" dirty="0">
              <a:solidFill>
                <a:schemeClr val="dk1"/>
              </a:solidFill>
            </a:endParaRPr>
          </a:p>
        </p:txBody>
      </p:sp>
      <p:sp>
        <p:nvSpPr>
          <p:cNvPr id="1590" name="Google Shape;1590;g2a57c4556f4_3_31"/>
          <p:cNvSpPr txBox="1">
            <a:spLocks noGrp="1"/>
          </p:cNvSpPr>
          <p:nvPr>
            <p:ph type="title"/>
          </p:nvPr>
        </p:nvSpPr>
        <p:spPr>
          <a:xfrm>
            <a:off x="5358875" y="746683"/>
            <a:ext cx="6325800" cy="451800"/>
          </a:xfrm>
          <a:prstGeom prst="rect">
            <a:avLst/>
          </a:prstGeom>
          <a:noFill/>
          <a:ln>
            <a:noFill/>
          </a:ln>
        </p:spPr>
        <p:txBody>
          <a:bodyPr spcFirstLastPara="1" wrap="square" lIns="0" tIns="0" rIns="0" bIns="0" anchor="t" anchorCtr="0">
            <a:noAutofit/>
          </a:bodyPr>
          <a:lstStyle/>
          <a:p>
            <a:pPr lvl="0">
              <a:spcBef>
                <a:spcPts val="0"/>
              </a:spcBef>
              <a:buClr>
                <a:schemeClr val="dk1"/>
              </a:buClr>
              <a:buSzPts val="1100"/>
            </a:pPr>
            <a:r>
              <a:rPr lang="de-DE" dirty="0"/>
              <a:t>CO₂-Berechnung to </a:t>
            </a:r>
            <a:r>
              <a:rPr lang="de-DE" dirty="0" err="1"/>
              <a:t>go</a:t>
            </a:r>
            <a:endParaRPr dirty="0"/>
          </a:p>
        </p:txBody>
      </p:sp>
      <p:sp>
        <p:nvSpPr>
          <p:cNvPr id="1591" name="Google Shape;1591;g2a57c4556f4_3_31"/>
          <p:cNvSpPr/>
          <p:nvPr/>
        </p:nvSpPr>
        <p:spPr>
          <a:xfrm>
            <a:off x="5358875" y="5342070"/>
            <a:ext cx="2592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Material-, Energie- und CO₂-Einsparungen</a:t>
            </a:r>
            <a:endParaRPr sz="1000">
              <a:solidFill>
                <a:schemeClr val="lt1"/>
              </a:solidFill>
            </a:endParaRPr>
          </a:p>
        </p:txBody>
      </p:sp>
      <p:sp>
        <p:nvSpPr>
          <p:cNvPr id="1597" name="Google Shape;1597;g2a57c4556f4_3_31"/>
          <p:cNvSpPr/>
          <p:nvPr/>
        </p:nvSpPr>
        <p:spPr>
          <a:xfrm>
            <a:off x="7994845" y="5342070"/>
            <a:ext cx="2268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Verantwortungsvolle Entscheidungen</a:t>
            </a:r>
            <a:endParaRPr sz="1000">
              <a:solidFill>
                <a:schemeClr val="lt1"/>
              </a:solidFill>
            </a:endParaRPr>
          </a:p>
        </p:txBody>
      </p:sp>
      <p:sp>
        <p:nvSpPr>
          <p:cNvPr id="1598" name="Google Shape;1598;g2a57c4556f4_3_31"/>
          <p:cNvSpPr/>
          <p:nvPr/>
        </p:nvSpPr>
        <p:spPr>
          <a:xfrm>
            <a:off x="10306815" y="5342070"/>
            <a:ext cx="10995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Grüne Optionen</a:t>
            </a:r>
            <a:endParaRPr sz="1000">
              <a:solidFill>
                <a:schemeClr val="lt1"/>
              </a:solidFill>
            </a:endParaRPr>
          </a:p>
        </p:txBody>
      </p:sp>
      <p:sp>
        <p:nvSpPr>
          <p:cNvPr id="1599" name="Google Shape;1599;g2a57c4556f4_3_31"/>
          <p:cNvSpPr/>
          <p:nvPr/>
        </p:nvSpPr>
        <p:spPr>
          <a:xfrm>
            <a:off x="10144261" y="5598123"/>
            <a:ext cx="1008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Berechnungen</a:t>
            </a:r>
            <a:endParaRPr sz="1000">
              <a:solidFill>
                <a:schemeClr val="lt1"/>
              </a:solidFill>
            </a:endParaRPr>
          </a:p>
        </p:txBody>
      </p:sp>
      <p:sp>
        <p:nvSpPr>
          <p:cNvPr id="1600" name="Google Shape;1600;g2a57c4556f4_3_31"/>
          <p:cNvSpPr/>
          <p:nvPr/>
        </p:nvSpPr>
        <p:spPr>
          <a:xfrm>
            <a:off x="5358875" y="5597795"/>
            <a:ext cx="12459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CO₂-Fußabdrücke</a:t>
            </a:r>
            <a:endParaRPr sz="1000">
              <a:solidFill>
                <a:schemeClr val="lt1"/>
              </a:solidFill>
            </a:endParaRPr>
          </a:p>
        </p:txBody>
      </p:sp>
      <p:sp>
        <p:nvSpPr>
          <p:cNvPr id="1601" name="Google Shape;1601;g2a57c4556f4_3_31"/>
          <p:cNvSpPr/>
          <p:nvPr/>
        </p:nvSpPr>
        <p:spPr>
          <a:xfrm>
            <a:off x="6665650" y="5597795"/>
            <a:ext cx="1944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Global harmonisiertes System</a:t>
            </a:r>
            <a:endParaRPr sz="1000">
              <a:solidFill>
                <a:schemeClr val="lt1"/>
              </a:solidFill>
            </a:endParaRPr>
          </a:p>
        </p:txBody>
      </p:sp>
      <p:sp>
        <p:nvSpPr>
          <p:cNvPr id="1602" name="Google Shape;1602;g2a57c4556f4_3_31"/>
          <p:cNvSpPr/>
          <p:nvPr/>
        </p:nvSpPr>
        <p:spPr>
          <a:xfrm>
            <a:off x="8507275" y="5850040"/>
            <a:ext cx="864000" cy="206400"/>
          </a:xfrm>
          <a:prstGeom prst="rect">
            <a:avLst/>
          </a:prstGeom>
          <a:solidFill>
            <a:srgbClr val="004A96"/>
          </a:solidFill>
          <a:ln>
            <a:noFill/>
          </a:ln>
        </p:spPr>
        <p:txBody>
          <a:bodyPr spcFirstLastPara="1" wrap="square" lIns="91425" tIns="91425" rIns="91425" bIns="91425" anchor="ctr" anchorCtr="0">
            <a:noAutofit/>
          </a:bodyPr>
          <a:lstStyle/>
          <a:p>
            <a:pPr lvl="0" algn="ctr">
              <a:buSzPts val="1100"/>
            </a:pPr>
            <a:r>
              <a:rPr lang="de-DE" sz="1000">
                <a:solidFill>
                  <a:schemeClr val="lt1"/>
                </a:solidFill>
              </a:rPr>
              <a:t>Vorhersage</a:t>
            </a:r>
            <a:endParaRPr sz="1000">
              <a:solidFill>
                <a:schemeClr val="lt1"/>
              </a:solidFill>
            </a:endParaRPr>
          </a:p>
        </p:txBody>
      </p:sp>
      <p:sp>
        <p:nvSpPr>
          <p:cNvPr id="1603" name="Google Shape;1603;g2a57c4556f4_3_31"/>
          <p:cNvSpPr/>
          <p:nvPr/>
        </p:nvSpPr>
        <p:spPr>
          <a:xfrm>
            <a:off x="8663125" y="5597795"/>
            <a:ext cx="1404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Wertschöpfungskette</a:t>
            </a:r>
            <a:endParaRPr sz="1000">
              <a:solidFill>
                <a:schemeClr val="lt1"/>
              </a:solidFill>
            </a:endParaRPr>
          </a:p>
        </p:txBody>
      </p:sp>
      <p:sp>
        <p:nvSpPr>
          <p:cNvPr id="1604" name="Google Shape;1604;g2a57c4556f4_3_31"/>
          <p:cNvSpPr/>
          <p:nvPr/>
        </p:nvSpPr>
        <p:spPr>
          <a:xfrm>
            <a:off x="7499125" y="5856002"/>
            <a:ext cx="936000" cy="206400"/>
          </a:xfrm>
          <a:prstGeom prst="rect">
            <a:avLst/>
          </a:prstGeom>
          <a:solidFill>
            <a:srgbClr val="004A96"/>
          </a:solidFill>
          <a:ln>
            <a:noFill/>
          </a:ln>
        </p:spPr>
        <p:txBody>
          <a:bodyPr spcFirstLastPara="1" wrap="square" lIns="91425" tIns="91425" rIns="91425" bIns="91425" anchor="ctr" anchorCtr="0">
            <a:noAutofit/>
          </a:bodyPr>
          <a:lstStyle/>
          <a:p>
            <a:pPr lvl="0" algn="ctr"/>
            <a:r>
              <a:rPr lang="de-DE" sz="1000">
                <a:solidFill>
                  <a:schemeClr val="lt1"/>
                </a:solidFill>
              </a:rPr>
              <a:t>Bewusstsein</a:t>
            </a:r>
            <a:endParaRPr sz="1000">
              <a:solidFill>
                <a:schemeClr val="lt1"/>
              </a:solidFill>
            </a:endParaRPr>
          </a:p>
        </p:txBody>
      </p:sp>
      <p:sp>
        <p:nvSpPr>
          <p:cNvPr id="1605" name="Google Shape;1605;g2a57c4556f4_3_31"/>
          <p:cNvSpPr/>
          <p:nvPr/>
        </p:nvSpPr>
        <p:spPr>
          <a:xfrm>
            <a:off x="5358875" y="5853520"/>
            <a:ext cx="830700" cy="206400"/>
          </a:xfrm>
          <a:prstGeom prst="rect">
            <a:avLst/>
          </a:prstGeom>
          <a:solidFill>
            <a:srgbClr val="004A9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de-DE" sz="1000">
                <a:solidFill>
                  <a:schemeClr val="lt1"/>
                </a:solidFill>
              </a:rPr>
              <a:t>Software</a:t>
            </a:r>
            <a:endParaRPr sz="1000">
              <a:solidFill>
                <a:schemeClr val="lt1"/>
              </a:solidFill>
            </a:endParaRPr>
          </a:p>
        </p:txBody>
      </p:sp>
      <p:sp>
        <p:nvSpPr>
          <p:cNvPr id="1606" name="Google Shape;1606;g2a57c4556f4_3_31"/>
          <p:cNvSpPr/>
          <p:nvPr/>
        </p:nvSpPr>
        <p:spPr>
          <a:xfrm>
            <a:off x="6250350" y="5853520"/>
            <a:ext cx="1188000" cy="206400"/>
          </a:xfrm>
          <a:prstGeom prst="rect">
            <a:avLst/>
          </a:prstGeom>
          <a:solidFill>
            <a:srgbClr val="004A96"/>
          </a:solidFill>
          <a:ln>
            <a:noFill/>
          </a:ln>
        </p:spPr>
        <p:txBody>
          <a:bodyPr spcFirstLastPara="1" wrap="square" lIns="91425" tIns="91425" rIns="91425" bIns="91425" anchor="ctr" anchorCtr="0">
            <a:noAutofit/>
          </a:bodyPr>
          <a:lstStyle/>
          <a:p>
            <a:pPr lvl="0" algn="ctr">
              <a:buSzPts val="1100"/>
            </a:pPr>
            <a:r>
              <a:rPr lang="de-DE" sz="1000">
                <a:solidFill>
                  <a:schemeClr val="lt1"/>
                </a:solidFill>
              </a:rPr>
              <a:t>Zusammenarbeit</a:t>
            </a:r>
            <a:endParaRPr sz="1000">
              <a:solidFill>
                <a:schemeClr val="lt1"/>
              </a:solidFill>
            </a:endParaRPr>
          </a:p>
        </p:txBody>
      </p:sp>
      <p:pic>
        <p:nvPicPr>
          <p:cNvPr id="2" name="Google Shape;1582;g28c66a67f99_0_2618">
            <a:extLst>
              <a:ext uri="{FF2B5EF4-FFF2-40B4-BE49-F238E27FC236}">
                <a16:creationId xmlns:a16="http://schemas.microsoft.com/office/drawing/2014/main" id="{65426145-D729-4CDC-7FF5-5ABAFED6FDA8}"/>
              </a:ext>
            </a:extLst>
          </p:cNvPr>
          <p:cNvPicPr preferRelativeResize="0">
            <a:picLocks noChangeAspect="1"/>
          </p:cNvPicPr>
          <p:nvPr/>
        </p:nvPicPr>
        <p:blipFill rotWithShape="1">
          <a:blip r:embed="rId3">
            <a:alphaModFix/>
          </a:blip>
          <a:srcRect t="-14484" b="-14613"/>
          <a:stretch/>
        </p:blipFill>
        <p:spPr>
          <a:xfrm>
            <a:off x="1114723" y="1048732"/>
            <a:ext cx="3202914" cy="4760535"/>
          </a:xfrm>
          <a:prstGeom prst="rect">
            <a:avLst/>
          </a:prstGeom>
          <a:noFill/>
          <a:ln>
            <a:noFill/>
          </a:ln>
        </p:spPr>
      </p:pic>
      <p:pic>
        <p:nvPicPr>
          <p:cNvPr id="3" name="Google Shape;1516;g291664d05b2_0_12">
            <a:extLst>
              <a:ext uri="{FF2B5EF4-FFF2-40B4-BE49-F238E27FC236}">
                <a16:creationId xmlns:a16="http://schemas.microsoft.com/office/drawing/2014/main" id="{F2D95DB2-1FFC-58B9-E9CF-A0783F67E7E5}"/>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4" name="Foliennummernplatzhalter 3">
            <a:extLst>
              <a:ext uri="{FF2B5EF4-FFF2-40B4-BE49-F238E27FC236}">
                <a16:creationId xmlns:a16="http://schemas.microsoft.com/office/drawing/2014/main" id="{700811F5-D307-BA58-373C-E66AB1FA33B2}"/>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5</a:t>
            </a:fld>
            <a:endParaRPr lang="de-DE"/>
          </a:p>
        </p:txBody>
      </p:sp>
    </p:spTree>
    <p:extLst>
      <p:ext uri="{BB962C8B-B14F-4D97-AF65-F5344CB8AC3E}">
        <p14:creationId xmlns:p14="http://schemas.microsoft.com/office/powerpoint/2010/main" val="1324386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86">
          <a:extLst>
            <a:ext uri="{FF2B5EF4-FFF2-40B4-BE49-F238E27FC236}">
              <a16:creationId xmlns:a16="http://schemas.microsoft.com/office/drawing/2014/main" id="{2E1C3AAE-5F54-815F-A205-10CD3C96CC7D}"/>
            </a:ext>
          </a:extLst>
        </p:cNvPr>
        <p:cNvGrpSpPr/>
        <p:nvPr/>
      </p:nvGrpSpPr>
      <p:grpSpPr>
        <a:xfrm>
          <a:off x="0" y="0"/>
          <a:ext cx="0" cy="0"/>
          <a:chOff x="0" y="0"/>
          <a:chExt cx="0" cy="0"/>
        </a:xfrm>
      </p:grpSpPr>
      <p:pic>
        <p:nvPicPr>
          <p:cNvPr id="2" name="Google Shape;1582;g28c66a67f99_0_2618">
            <a:extLst>
              <a:ext uri="{FF2B5EF4-FFF2-40B4-BE49-F238E27FC236}">
                <a16:creationId xmlns:a16="http://schemas.microsoft.com/office/drawing/2014/main" id="{CB1D8D41-12D5-0227-C629-7447B72C5DA9}"/>
              </a:ext>
            </a:extLst>
          </p:cNvPr>
          <p:cNvPicPr preferRelativeResize="0">
            <a:picLocks noChangeAspect="1"/>
          </p:cNvPicPr>
          <p:nvPr/>
        </p:nvPicPr>
        <p:blipFill rotWithShape="1">
          <a:blip r:embed="rId3">
            <a:alphaModFix/>
          </a:blip>
          <a:srcRect t="-14484" b="-14613"/>
          <a:stretch/>
        </p:blipFill>
        <p:spPr>
          <a:xfrm>
            <a:off x="1114723" y="1048732"/>
            <a:ext cx="3202914" cy="4760535"/>
          </a:xfrm>
          <a:prstGeom prst="rect">
            <a:avLst/>
          </a:prstGeom>
          <a:noFill/>
          <a:ln>
            <a:noFill/>
          </a:ln>
        </p:spPr>
      </p:pic>
      <p:sp>
        <p:nvSpPr>
          <p:cNvPr id="4" name="Titel 3">
            <a:extLst>
              <a:ext uri="{FF2B5EF4-FFF2-40B4-BE49-F238E27FC236}">
                <a16:creationId xmlns:a16="http://schemas.microsoft.com/office/drawing/2014/main" id="{A2B1FCAA-4062-9360-64E2-692D059B1D08}"/>
              </a:ext>
            </a:extLst>
          </p:cNvPr>
          <p:cNvSpPr>
            <a:spLocks noGrp="1"/>
          </p:cNvSpPr>
          <p:nvPr>
            <p:ph type="title"/>
          </p:nvPr>
        </p:nvSpPr>
        <p:spPr>
          <a:xfrm>
            <a:off x="139849" y="432000"/>
            <a:ext cx="5604735" cy="853200"/>
          </a:xfrm>
        </p:spPr>
        <p:txBody>
          <a:bodyPr/>
          <a:lstStyle/>
          <a:p>
            <a:pPr algn="ctr"/>
            <a:r>
              <a:rPr lang="de-DE" dirty="0"/>
              <a:t>CO₂-Berechnung to </a:t>
            </a:r>
            <a:r>
              <a:rPr lang="de-DE" dirty="0" err="1"/>
              <a:t>go</a:t>
            </a:r>
            <a:br>
              <a:rPr lang="de-DE" dirty="0"/>
            </a:br>
            <a:r>
              <a:rPr lang="de-DE" sz="2400" b="0" dirty="0"/>
              <a:t>Tools zur Produkt- &amp; Prozessoptimierung</a:t>
            </a:r>
            <a:endParaRPr lang="de-DE" b="0" dirty="0"/>
          </a:p>
        </p:txBody>
      </p:sp>
      <p:grpSp>
        <p:nvGrpSpPr>
          <p:cNvPr id="15" name="Gruppieren 14">
            <a:extLst>
              <a:ext uri="{FF2B5EF4-FFF2-40B4-BE49-F238E27FC236}">
                <a16:creationId xmlns:a16="http://schemas.microsoft.com/office/drawing/2014/main" id="{7F271540-FFBC-B681-7B2F-4D30688C0154}"/>
              </a:ext>
            </a:extLst>
          </p:cNvPr>
          <p:cNvGrpSpPr/>
          <p:nvPr/>
        </p:nvGrpSpPr>
        <p:grpSpPr>
          <a:xfrm>
            <a:off x="6096000" y="0"/>
            <a:ext cx="6096000" cy="6858000"/>
            <a:chOff x="6096000" y="0"/>
            <a:chExt cx="6096000" cy="6858000"/>
          </a:xfrm>
        </p:grpSpPr>
        <p:sp>
          <p:nvSpPr>
            <p:cNvPr id="5" name="Rechteck 4">
              <a:extLst>
                <a:ext uri="{FF2B5EF4-FFF2-40B4-BE49-F238E27FC236}">
                  <a16:creationId xmlns:a16="http://schemas.microsoft.com/office/drawing/2014/main" id="{194F5EDE-D6C9-419C-49CA-24A733648F9C}"/>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platzhalter 2">
              <a:extLst>
                <a:ext uri="{FF2B5EF4-FFF2-40B4-BE49-F238E27FC236}">
                  <a16:creationId xmlns:a16="http://schemas.microsoft.com/office/drawing/2014/main" id="{8C4D5E12-39AE-7327-DECA-2B1CD0D86FD6}"/>
                </a:ext>
              </a:extLst>
            </p:cNvPr>
            <p:cNvSpPr txBox="1">
              <a:spLocks/>
            </p:cNvSpPr>
            <p:nvPr/>
          </p:nvSpPr>
          <p:spPr>
            <a:xfrm>
              <a:off x="6889123" y="4022991"/>
              <a:ext cx="5149850" cy="2122458"/>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266700" lvl="0" indent="-266700">
                <a:buClr>
                  <a:srgbClr val="07A4B9"/>
                </a:buClr>
              </a:pPr>
              <a:r>
                <a:rPr lang="de-DE" sz="1800" b="1" noProof="0" dirty="0"/>
                <a:t>Digitale Tools zur CO</a:t>
              </a:r>
              <a:r>
                <a:rPr lang="de-DE" sz="1800" b="1" baseline="-25000" noProof="0" dirty="0"/>
                <a:t>2</a:t>
              </a:r>
              <a:r>
                <a:rPr lang="de-DE" sz="1800" b="1" noProof="0" dirty="0"/>
                <a:t>-Berechnung</a:t>
              </a:r>
            </a:p>
            <a:p>
              <a:pPr marL="266700" lvl="0" indent="-266700">
                <a:buClr>
                  <a:srgbClr val="07A4B9"/>
                </a:buClr>
              </a:pPr>
              <a:r>
                <a:rPr lang="de-DE" sz="1400" noProof="0" dirty="0"/>
                <a:t>Entwicklung mit interner Expertise und externen Partnern</a:t>
              </a:r>
            </a:p>
            <a:p>
              <a:pPr marL="266700" lvl="0" indent="-266700">
                <a:buClr>
                  <a:srgbClr val="07A4B9"/>
                </a:buClr>
              </a:pPr>
              <a:r>
                <a:rPr lang="de-DE" sz="1400" noProof="0" dirty="0"/>
                <a:t>Nutzung in der eigenen Produktentwicklung &amp; mit Kunden</a:t>
              </a:r>
            </a:p>
            <a:p>
              <a:pPr marL="266700" indent="-266700">
                <a:buClr>
                  <a:srgbClr val="07A4B9"/>
                </a:buClr>
              </a:pPr>
              <a:r>
                <a:rPr lang="de-DE" sz="1400" noProof="0" dirty="0"/>
                <a:t>LCA-Modelle inkl. Energie, Emissionen, Rohstoffverbrauch</a:t>
              </a:r>
            </a:p>
            <a:p>
              <a:pPr marL="266700" indent="-266700">
                <a:buClr>
                  <a:srgbClr val="07A4B9"/>
                </a:buClr>
              </a:pPr>
              <a:r>
                <a:rPr lang="de-DE" sz="1400" noProof="0" dirty="0"/>
                <a:t>Fahrzeuglackierung: holistisches Tool mit ~1000 Input-Parametern (</a:t>
              </a:r>
              <a:r>
                <a:rPr lang="de-DE" sz="1400" noProof="0" dirty="0" err="1"/>
                <a:t>Cradle</a:t>
              </a:r>
              <a:r>
                <a:rPr lang="de-DE" sz="1400" dirty="0"/>
                <a:t>-2-OEM Gate)</a:t>
              </a:r>
            </a:p>
            <a:p>
              <a:pPr marL="266700" indent="-266700">
                <a:buClr>
                  <a:srgbClr val="07A4B9"/>
                </a:buClr>
              </a:pPr>
              <a:r>
                <a:rPr lang="de-DE" sz="1400" noProof="0" dirty="0"/>
                <a:t>Technologievergleiche und </a:t>
              </a:r>
              <a:r>
                <a:rPr lang="de-DE" sz="1400" noProof="0" dirty="0" err="1"/>
                <a:t>Szenarienkalkulation</a:t>
              </a:r>
              <a:endParaRPr lang="de-DE" sz="1400" noProof="0" dirty="0"/>
            </a:p>
            <a:p>
              <a:pPr marL="266700" indent="-266700">
                <a:buClr>
                  <a:srgbClr val="07A4B9"/>
                </a:buClr>
              </a:pPr>
              <a:endParaRPr lang="de-DE" sz="1400" noProof="0" dirty="0"/>
            </a:p>
          </p:txBody>
        </p:sp>
        <p:grpSp>
          <p:nvGrpSpPr>
            <p:cNvPr id="13" name="Gruppieren 12">
              <a:extLst>
                <a:ext uri="{FF2B5EF4-FFF2-40B4-BE49-F238E27FC236}">
                  <a16:creationId xmlns:a16="http://schemas.microsoft.com/office/drawing/2014/main" id="{B4DA9D35-ABD6-9FC9-7984-4DF2E689B3BD}"/>
                </a:ext>
              </a:extLst>
            </p:cNvPr>
            <p:cNvGrpSpPr/>
            <p:nvPr/>
          </p:nvGrpSpPr>
          <p:grpSpPr>
            <a:xfrm>
              <a:off x="6620179" y="772536"/>
              <a:ext cx="5062623" cy="2712939"/>
              <a:chOff x="6760029" y="772536"/>
              <a:chExt cx="5062623" cy="2712939"/>
            </a:xfrm>
          </p:grpSpPr>
          <p:sp>
            <p:nvSpPr>
              <p:cNvPr id="11" name="Rechteck 10">
                <a:extLst>
                  <a:ext uri="{FF2B5EF4-FFF2-40B4-BE49-F238E27FC236}">
                    <a16:creationId xmlns:a16="http://schemas.microsoft.com/office/drawing/2014/main" id="{9C73BAB2-7803-1504-5BEB-D8E1F0176976}"/>
                  </a:ext>
                </a:extLst>
              </p:cNvPr>
              <p:cNvSpPr/>
              <p:nvPr/>
            </p:nvSpPr>
            <p:spPr>
              <a:xfrm>
                <a:off x="6760029" y="772536"/>
                <a:ext cx="5062623" cy="2712939"/>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Picture 2">
                <a:extLst>
                  <a:ext uri="{FF2B5EF4-FFF2-40B4-BE49-F238E27FC236}">
                    <a16:creationId xmlns:a16="http://schemas.microsoft.com/office/drawing/2014/main" id="{5BD73B7A-C212-573D-7A6F-68009A2487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819" y="858600"/>
                <a:ext cx="1758226" cy="254798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CA9C40D-31F7-506B-8691-F18412E928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4319" y="1301820"/>
                <a:ext cx="3175305" cy="2104762"/>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a:extLst>
                  <a:ext uri="{FF2B5EF4-FFF2-40B4-BE49-F238E27FC236}">
                    <a16:creationId xmlns:a16="http://schemas.microsoft.com/office/drawing/2014/main" id="{14460689-872F-1599-7503-43F1715E464C}"/>
                  </a:ext>
                </a:extLst>
              </p:cNvPr>
              <p:cNvSpPr/>
              <p:nvPr/>
            </p:nvSpPr>
            <p:spPr>
              <a:xfrm>
                <a:off x="8572045" y="847842"/>
                <a:ext cx="3175305" cy="44322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dirty="0"/>
                  <a:t>CO</a:t>
                </a:r>
                <a:r>
                  <a:rPr lang="de-DE" sz="1400" baseline="-25000" dirty="0"/>
                  <a:t>2</a:t>
                </a:r>
                <a:r>
                  <a:rPr lang="de-DE" sz="1400" dirty="0"/>
                  <a:t>-Emissionen der </a:t>
                </a:r>
                <a:br>
                  <a:rPr lang="de-DE" sz="1400" dirty="0"/>
                </a:br>
                <a:r>
                  <a:rPr lang="de-DE" sz="1400" dirty="0"/>
                  <a:t>kathodischen Tauchlackierung</a:t>
                </a:r>
              </a:p>
            </p:txBody>
          </p:sp>
        </p:grpSp>
      </p:grpSp>
      <p:pic>
        <p:nvPicPr>
          <p:cNvPr id="12" name="Google Shape;1516;g291664d05b2_0_12">
            <a:extLst>
              <a:ext uri="{FF2B5EF4-FFF2-40B4-BE49-F238E27FC236}">
                <a16:creationId xmlns:a16="http://schemas.microsoft.com/office/drawing/2014/main" id="{C0453A4C-3065-414D-A2D4-9507A0DD1E1D}"/>
              </a:ext>
            </a:extLst>
          </p:cNvPr>
          <p:cNvPicPr>
            <a:picLocks noChangeAspect="1"/>
          </p:cNvPicPr>
          <p:nvPr/>
        </p:nvPicPr>
        <p:blipFill>
          <a:blip r:embed="rId6">
            <a:alphaModFix amt="35000"/>
          </a:blip>
          <a:stretch>
            <a:fillRect/>
          </a:stretch>
        </p:blipFill>
        <p:spPr>
          <a:xfrm>
            <a:off x="-702414" y="5084220"/>
            <a:ext cx="2417632" cy="2292501"/>
          </a:xfrm>
          <a:prstGeom prst="rect">
            <a:avLst/>
          </a:prstGeom>
          <a:noFill/>
          <a:ln>
            <a:noFill/>
          </a:ln>
        </p:spPr>
      </p:pic>
      <p:sp>
        <p:nvSpPr>
          <p:cNvPr id="14" name="Foliennummernplatzhalter 13">
            <a:extLst>
              <a:ext uri="{FF2B5EF4-FFF2-40B4-BE49-F238E27FC236}">
                <a16:creationId xmlns:a16="http://schemas.microsoft.com/office/drawing/2014/main" id="{69D5F81B-3D35-F673-7A58-0581B5AEFBC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6</a:t>
            </a:fld>
            <a:endParaRPr lang="de-DE"/>
          </a:p>
        </p:txBody>
      </p:sp>
    </p:spTree>
    <p:extLst>
      <p:ext uri="{BB962C8B-B14F-4D97-AF65-F5344CB8AC3E}">
        <p14:creationId xmlns:p14="http://schemas.microsoft.com/office/powerpoint/2010/main" val="1772291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 name="Grafik 128" descr="Elektroauto mit einfarbiger Füllung">
            <a:extLst>
              <a:ext uri="{FF2B5EF4-FFF2-40B4-BE49-F238E27FC236}">
                <a16:creationId xmlns:a16="http://schemas.microsoft.com/office/drawing/2014/main" id="{6AE6BACB-6FE2-69B1-B979-F4031B94CFA0}"/>
              </a:ext>
            </a:extLst>
          </p:cNvPr>
          <p:cNvPicPr>
            <a:picLocks noChangeAspect="1"/>
          </p:cNvPicPr>
          <p:nvPr/>
        </p:nvPicPr>
        <p:blipFill>
          <a:blip r:embed="rId5">
            <a:duotone>
              <a:schemeClr val="accent1">
                <a:shade val="45000"/>
                <a:satMod val="135000"/>
              </a:schemeClr>
              <a:prstClr val="white"/>
            </a:duotone>
            <a:extLst>
              <a:ext uri="{96DAC541-7B7A-43D3-8B79-37D633B846F1}">
                <asvg:svgBlip xmlns:asvg="http://schemas.microsoft.com/office/drawing/2016/SVG/main" r:embed="rId6"/>
              </a:ext>
            </a:extLst>
          </a:blip>
          <a:stretch>
            <a:fillRect/>
          </a:stretch>
        </p:blipFill>
        <p:spPr>
          <a:xfrm>
            <a:off x="8761489" y="2333245"/>
            <a:ext cx="914400" cy="914400"/>
          </a:xfrm>
          <a:prstGeom prst="rect">
            <a:avLst/>
          </a:prstGeom>
        </p:spPr>
      </p:pic>
      <p:graphicFrame>
        <p:nvGraphicFramePr>
          <p:cNvPr id="7" name="Objekt 6" hidden="1">
            <a:extLst>
              <a:ext uri="{FF2B5EF4-FFF2-40B4-BE49-F238E27FC236}">
                <a16:creationId xmlns:a16="http://schemas.microsoft.com/office/drawing/2014/main" id="{1AA2A84A-7F13-4324-9F3F-0262BE52DB30}"/>
              </a:ext>
            </a:extLst>
          </p:cNvPr>
          <p:cNvGraphicFramePr>
            <a:graphicFrameLocks noChangeAspect="1"/>
          </p:cNvGraphicFramePr>
          <p:nvPr>
            <p:custDataLst>
              <p:tags r:id="rId2"/>
            </p:custData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Folie" r:id="rId7" imgW="523" imgH="499" progId="TCLayout.ActiveDocument.1">
                  <p:embed/>
                </p:oleObj>
              </mc:Choice>
              <mc:Fallback>
                <p:oleObj name="think-cell Folie" r:id="rId7" imgW="523" imgH="499" progId="TCLayout.ActiveDocument.1">
                  <p:embed/>
                  <p:pic>
                    <p:nvPicPr>
                      <p:cNvPr id="7" name="Objekt 6" hidden="1">
                        <a:extLst>
                          <a:ext uri="{FF2B5EF4-FFF2-40B4-BE49-F238E27FC236}">
                            <a16:creationId xmlns:a16="http://schemas.microsoft.com/office/drawing/2014/main" id="{1AA2A84A-7F13-4324-9F3F-0262BE52DB30}"/>
                          </a:ext>
                        </a:extLst>
                      </p:cNvPr>
                      <p:cNvPicPr/>
                      <p:nvPr/>
                    </p:nvPicPr>
                    <p:blipFill>
                      <a:blip r:embed="rId8"/>
                      <a:stretch>
                        <a:fillRect/>
                      </a:stretch>
                    </p:blipFill>
                    <p:spPr>
                      <a:xfrm>
                        <a:off x="3174" y="2480"/>
                        <a:ext cx="1588" cy="1588"/>
                      </a:xfrm>
                      <a:prstGeom prst="rect">
                        <a:avLst/>
                      </a:prstGeom>
                    </p:spPr>
                  </p:pic>
                </p:oleObj>
              </mc:Fallback>
            </mc:AlternateContent>
          </a:graphicData>
        </a:graphic>
      </p:graphicFrame>
      <p:sp>
        <p:nvSpPr>
          <p:cNvPr id="100" name="Titel 3">
            <a:extLst>
              <a:ext uri="{FF2B5EF4-FFF2-40B4-BE49-F238E27FC236}">
                <a16:creationId xmlns:a16="http://schemas.microsoft.com/office/drawing/2014/main" id="{9713E3C0-640F-4442-87ED-3AEA8D58239A}"/>
              </a:ext>
            </a:extLst>
          </p:cNvPr>
          <p:cNvSpPr txBox="1">
            <a:spLocks/>
          </p:cNvSpPr>
          <p:nvPr/>
        </p:nvSpPr>
        <p:spPr>
          <a:xfrm>
            <a:off x="220630" y="225718"/>
            <a:ext cx="11733330" cy="936617"/>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r>
              <a:rPr lang="en-US" dirty="0">
                <a:solidFill>
                  <a:srgbClr val="004A96"/>
                </a:solidFill>
              </a:rPr>
              <a:t>Extended Carbon Footprint (XCF) für die </a:t>
            </a:r>
            <a:r>
              <a:rPr lang="en-US" dirty="0" err="1">
                <a:solidFill>
                  <a:srgbClr val="004A96"/>
                </a:solidFill>
              </a:rPr>
              <a:t>Fahrzeuglackiererei</a:t>
            </a:r>
            <a:br>
              <a:rPr lang="en-US" i="1" dirty="0">
                <a:solidFill>
                  <a:srgbClr val="004A96"/>
                </a:solidFill>
              </a:rPr>
            </a:br>
            <a:r>
              <a:rPr lang="en-US" sz="2400" dirty="0">
                <a:solidFill>
                  <a:srgbClr val="F39500"/>
                </a:solidFill>
              </a:rPr>
              <a:t>GLASS</a:t>
            </a:r>
            <a:r>
              <a:rPr lang="en-US" sz="2400" b="0" dirty="0"/>
              <a:t>:</a:t>
            </a:r>
            <a:r>
              <a:rPr lang="en-US" sz="2400" b="0" dirty="0">
                <a:solidFill>
                  <a:srgbClr val="F39500"/>
                </a:solidFill>
              </a:rPr>
              <a:t> </a:t>
            </a:r>
            <a:r>
              <a:rPr lang="en-US" sz="2400" dirty="0">
                <a:solidFill>
                  <a:srgbClr val="F39500"/>
                </a:solidFill>
              </a:rPr>
              <a:t>G</a:t>
            </a:r>
            <a:r>
              <a:rPr lang="en-US" sz="2400" b="0" dirty="0">
                <a:solidFill>
                  <a:srgbClr val="004A96"/>
                </a:solidFill>
              </a:rPr>
              <a:t>lobal </a:t>
            </a:r>
            <a:r>
              <a:rPr lang="en-US" sz="2400" dirty="0">
                <a:solidFill>
                  <a:srgbClr val="F39500"/>
                </a:solidFill>
              </a:rPr>
              <a:t>L</a:t>
            </a:r>
            <a:r>
              <a:rPr lang="en-US" sz="2400" b="0" dirty="0">
                <a:solidFill>
                  <a:srgbClr val="004A96"/>
                </a:solidFill>
              </a:rPr>
              <a:t>ifecycle assessment for </a:t>
            </a:r>
            <a:r>
              <a:rPr lang="en-US" sz="2400" dirty="0">
                <a:solidFill>
                  <a:srgbClr val="F39500"/>
                </a:solidFill>
              </a:rPr>
              <a:t>A</a:t>
            </a:r>
            <a:r>
              <a:rPr lang="en-US" sz="2400" b="0" dirty="0">
                <a:solidFill>
                  <a:srgbClr val="004A96"/>
                </a:solidFill>
              </a:rPr>
              <a:t>utomotive </a:t>
            </a:r>
            <a:r>
              <a:rPr lang="en-US" sz="2400" dirty="0">
                <a:solidFill>
                  <a:srgbClr val="F39500"/>
                </a:solidFill>
              </a:rPr>
              <a:t>S</a:t>
            </a:r>
            <a:r>
              <a:rPr lang="en-US" sz="2400" b="0" dirty="0">
                <a:solidFill>
                  <a:srgbClr val="004A96"/>
                </a:solidFill>
              </a:rPr>
              <a:t>urface </a:t>
            </a:r>
            <a:r>
              <a:rPr lang="en-US" sz="2400" dirty="0">
                <a:solidFill>
                  <a:srgbClr val="F39500"/>
                </a:solidFill>
              </a:rPr>
              <a:t>S</a:t>
            </a:r>
            <a:r>
              <a:rPr lang="en-US" sz="2400" b="0" dirty="0">
                <a:solidFill>
                  <a:srgbClr val="004A96"/>
                </a:solidFill>
              </a:rPr>
              <a:t>olutions</a:t>
            </a:r>
            <a:endParaRPr lang="en-US" b="0" dirty="0">
              <a:solidFill>
                <a:srgbClr val="004A96"/>
              </a:solidFill>
            </a:endParaRPr>
          </a:p>
        </p:txBody>
      </p:sp>
      <p:grpSp>
        <p:nvGrpSpPr>
          <p:cNvPr id="103" name="Gruppieren 102">
            <a:extLst>
              <a:ext uri="{FF2B5EF4-FFF2-40B4-BE49-F238E27FC236}">
                <a16:creationId xmlns:a16="http://schemas.microsoft.com/office/drawing/2014/main" id="{2A573DEA-CCB6-4EDA-B6BC-017E0470C2FE}"/>
              </a:ext>
            </a:extLst>
          </p:cNvPr>
          <p:cNvGrpSpPr/>
          <p:nvPr/>
        </p:nvGrpSpPr>
        <p:grpSpPr>
          <a:xfrm>
            <a:off x="1926452" y="2501217"/>
            <a:ext cx="1212892" cy="723256"/>
            <a:chOff x="1197502" y="1720165"/>
            <a:chExt cx="1548026" cy="900000"/>
          </a:xfrm>
          <a:solidFill>
            <a:srgbClr val="004A96"/>
          </a:solidFill>
        </p:grpSpPr>
        <p:sp>
          <p:nvSpPr>
            <p:cNvPr id="104" name="Freeform 9">
              <a:extLst>
                <a:ext uri="{FF2B5EF4-FFF2-40B4-BE49-F238E27FC236}">
                  <a16:creationId xmlns:a16="http://schemas.microsoft.com/office/drawing/2014/main" id="{116FD16A-39E3-4E6F-8011-3357FF8E9F99}"/>
                </a:ext>
              </a:extLst>
            </p:cNvPr>
            <p:cNvSpPr>
              <a:spLocks noChangeAspect="1" noEditPoints="1"/>
            </p:cNvSpPr>
            <p:nvPr/>
          </p:nvSpPr>
          <p:spPr bwMode="auto">
            <a:xfrm flipH="1">
              <a:off x="1197502" y="1761042"/>
              <a:ext cx="560697" cy="725760"/>
            </a:xfrm>
            <a:custGeom>
              <a:avLst/>
              <a:gdLst>
                <a:gd name="T0" fmla="*/ 2276 w 2441"/>
                <a:gd name="T1" fmla="*/ 2634 h 2911"/>
                <a:gd name="T2" fmla="*/ 2258 w 2441"/>
                <a:gd name="T3" fmla="*/ 2041 h 2911"/>
                <a:gd name="T4" fmla="*/ 2206 w 2441"/>
                <a:gd name="T5" fmla="*/ 2002 h 2911"/>
                <a:gd name="T6" fmla="*/ 2150 w 2441"/>
                <a:gd name="T7" fmla="*/ 1988 h 2911"/>
                <a:gd name="T8" fmla="*/ 2147 w 2441"/>
                <a:gd name="T9" fmla="*/ 1139 h 2911"/>
                <a:gd name="T10" fmla="*/ 2215 w 2441"/>
                <a:gd name="T11" fmla="*/ 960 h 2911"/>
                <a:gd name="T12" fmla="*/ 792 w 2441"/>
                <a:gd name="T13" fmla="*/ 419 h 2911"/>
                <a:gd name="T14" fmla="*/ 751 w 2441"/>
                <a:gd name="T15" fmla="*/ 375 h 2911"/>
                <a:gd name="T16" fmla="*/ 790 w 2441"/>
                <a:gd name="T17" fmla="*/ 92 h 2911"/>
                <a:gd name="T18" fmla="*/ 586 w 2441"/>
                <a:gd name="T19" fmla="*/ 3 h 2911"/>
                <a:gd name="T20" fmla="*/ 522 w 2441"/>
                <a:gd name="T21" fmla="*/ 17 h 2911"/>
                <a:gd name="T22" fmla="*/ 270 w 2441"/>
                <a:gd name="T23" fmla="*/ 389 h 2911"/>
                <a:gd name="T24" fmla="*/ 207 w 2441"/>
                <a:gd name="T25" fmla="*/ 844 h 2911"/>
                <a:gd name="T26" fmla="*/ 421 w 2441"/>
                <a:gd name="T27" fmla="*/ 920 h 2911"/>
                <a:gd name="T28" fmla="*/ 611 w 2441"/>
                <a:gd name="T29" fmla="*/ 695 h 2911"/>
                <a:gd name="T30" fmla="*/ 665 w 2441"/>
                <a:gd name="T31" fmla="*/ 667 h 2911"/>
                <a:gd name="T32" fmla="*/ 924 w 2441"/>
                <a:gd name="T33" fmla="*/ 772 h 2911"/>
                <a:gd name="T34" fmla="*/ 763 w 2441"/>
                <a:gd name="T35" fmla="*/ 2626 h 2911"/>
                <a:gd name="T36" fmla="*/ 43 w 2441"/>
                <a:gd name="T37" fmla="*/ 2640 h 2911"/>
                <a:gd name="T38" fmla="*/ 0 w 2441"/>
                <a:gd name="T39" fmla="*/ 2689 h 2911"/>
                <a:gd name="T40" fmla="*/ 23 w 2441"/>
                <a:gd name="T41" fmla="*/ 2902 h 2911"/>
                <a:gd name="T42" fmla="*/ 2408 w 2441"/>
                <a:gd name="T43" fmla="*/ 2907 h 2911"/>
                <a:gd name="T44" fmla="*/ 2441 w 2441"/>
                <a:gd name="T45" fmla="*/ 2689 h 2911"/>
                <a:gd name="T46" fmla="*/ 2404 w 2441"/>
                <a:gd name="T47" fmla="*/ 2651 h 2911"/>
                <a:gd name="T48" fmla="*/ 1372 w 2441"/>
                <a:gd name="T49" fmla="*/ 933 h 2911"/>
                <a:gd name="T50" fmla="*/ 1396 w 2441"/>
                <a:gd name="T51" fmla="*/ 940 h 2911"/>
                <a:gd name="T52" fmla="*/ 1431 w 2441"/>
                <a:gd name="T53" fmla="*/ 1459 h 2911"/>
                <a:gd name="T54" fmla="*/ 1347 w 2441"/>
                <a:gd name="T55" fmla="*/ 1582 h 2911"/>
                <a:gd name="T56" fmla="*/ 981 w 2441"/>
                <a:gd name="T57" fmla="*/ 1813 h 2911"/>
                <a:gd name="T58" fmla="*/ 957 w 2441"/>
                <a:gd name="T59" fmla="*/ 1795 h 2911"/>
                <a:gd name="T60" fmla="*/ 1008 w 2441"/>
                <a:gd name="T61" fmla="*/ 1262 h 2911"/>
                <a:gd name="T62" fmla="*/ 1442 w 2441"/>
                <a:gd name="T63" fmla="*/ 1702 h 2911"/>
                <a:gd name="T64" fmla="*/ 1465 w 2441"/>
                <a:gd name="T65" fmla="*/ 1716 h 2911"/>
                <a:gd name="T66" fmla="*/ 1495 w 2441"/>
                <a:gd name="T67" fmla="*/ 2173 h 2911"/>
                <a:gd name="T68" fmla="*/ 1223 w 2441"/>
                <a:gd name="T69" fmla="*/ 868 h 2911"/>
                <a:gd name="T70" fmla="*/ 1028 w 2441"/>
                <a:gd name="T71" fmla="*/ 1015 h 2911"/>
                <a:gd name="T72" fmla="*/ 1031 w 2441"/>
                <a:gd name="T73" fmla="*/ 842 h 2911"/>
                <a:gd name="T74" fmla="*/ 1100 w 2441"/>
                <a:gd name="T75" fmla="*/ 822 h 2911"/>
                <a:gd name="T76" fmla="*/ 937 w 2441"/>
                <a:gd name="T77" fmla="*/ 1999 h 2911"/>
                <a:gd name="T78" fmla="*/ 1380 w 2441"/>
                <a:gd name="T79" fmla="*/ 2281 h 2911"/>
                <a:gd name="T80" fmla="*/ 1385 w 2441"/>
                <a:gd name="T81" fmla="*/ 2322 h 2911"/>
                <a:gd name="T82" fmla="*/ 899 w 2441"/>
                <a:gd name="T83" fmla="*/ 2609 h 2911"/>
                <a:gd name="T84" fmla="*/ 1207 w 2441"/>
                <a:gd name="T85" fmla="*/ 2647 h 2911"/>
                <a:gd name="T86" fmla="*/ 1187 w 2441"/>
                <a:gd name="T87" fmla="*/ 2623 h 2911"/>
                <a:gd name="T88" fmla="*/ 1512 w 2441"/>
                <a:gd name="T89" fmla="*/ 2429 h 2911"/>
                <a:gd name="T90" fmla="*/ 1536 w 2441"/>
                <a:gd name="T91" fmla="*/ 2594 h 2911"/>
                <a:gd name="T92" fmla="*/ 1493 w 2441"/>
                <a:gd name="T93" fmla="*/ 2646 h 2911"/>
                <a:gd name="T94" fmla="*/ 1849 w 2441"/>
                <a:gd name="T95" fmla="*/ 2618 h 2911"/>
                <a:gd name="T96" fmla="*/ 1705 w 2441"/>
                <a:gd name="T97" fmla="*/ 2647 h 2911"/>
                <a:gd name="T98" fmla="*/ 1655 w 2441"/>
                <a:gd name="T99" fmla="*/ 2620 h 2911"/>
                <a:gd name="T100" fmla="*/ 1533 w 2441"/>
                <a:gd name="T101" fmla="*/ 1000 h 2911"/>
                <a:gd name="T102" fmla="*/ 1939 w 2441"/>
                <a:gd name="T103" fmla="*/ 1123 h 2911"/>
                <a:gd name="T104" fmla="*/ 1976 w 2441"/>
                <a:gd name="T105" fmla="*/ 1164 h 2911"/>
                <a:gd name="T106" fmla="*/ 1966 w 2441"/>
                <a:gd name="T107" fmla="*/ 1991 h 2911"/>
                <a:gd name="T108" fmla="*/ 1925 w 2441"/>
                <a:gd name="T109" fmla="*/ 2004 h 2911"/>
                <a:gd name="T110" fmla="*/ 1874 w 2441"/>
                <a:gd name="T111" fmla="*/ 2032 h 2911"/>
                <a:gd name="T112" fmla="*/ 1853 w 2441"/>
                <a:gd name="T113" fmla="*/ 2084 h 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1" h="2911">
                  <a:moveTo>
                    <a:pt x="2383" y="2647"/>
                  </a:moveTo>
                  <a:lnTo>
                    <a:pt x="2314" y="2647"/>
                  </a:lnTo>
                  <a:lnTo>
                    <a:pt x="2314" y="2647"/>
                  </a:lnTo>
                  <a:lnTo>
                    <a:pt x="2303" y="2646"/>
                  </a:lnTo>
                  <a:lnTo>
                    <a:pt x="2293" y="2644"/>
                  </a:lnTo>
                  <a:lnTo>
                    <a:pt x="2284" y="2639"/>
                  </a:lnTo>
                  <a:lnTo>
                    <a:pt x="2276" y="2634"/>
                  </a:lnTo>
                  <a:lnTo>
                    <a:pt x="2269" y="2626"/>
                  </a:lnTo>
                  <a:lnTo>
                    <a:pt x="2265" y="2618"/>
                  </a:lnTo>
                  <a:lnTo>
                    <a:pt x="2262" y="2608"/>
                  </a:lnTo>
                  <a:lnTo>
                    <a:pt x="2261" y="2598"/>
                  </a:lnTo>
                  <a:lnTo>
                    <a:pt x="2260" y="2051"/>
                  </a:lnTo>
                  <a:lnTo>
                    <a:pt x="2260" y="2051"/>
                  </a:lnTo>
                  <a:lnTo>
                    <a:pt x="2258" y="2041"/>
                  </a:lnTo>
                  <a:lnTo>
                    <a:pt x="2255" y="2032"/>
                  </a:lnTo>
                  <a:lnTo>
                    <a:pt x="2251" y="2023"/>
                  </a:lnTo>
                  <a:lnTo>
                    <a:pt x="2245" y="2016"/>
                  </a:lnTo>
                  <a:lnTo>
                    <a:pt x="2236" y="2009"/>
                  </a:lnTo>
                  <a:lnTo>
                    <a:pt x="2228" y="2005"/>
                  </a:lnTo>
                  <a:lnTo>
                    <a:pt x="2217" y="2003"/>
                  </a:lnTo>
                  <a:lnTo>
                    <a:pt x="2206" y="2002"/>
                  </a:lnTo>
                  <a:lnTo>
                    <a:pt x="2177" y="2002"/>
                  </a:lnTo>
                  <a:lnTo>
                    <a:pt x="2177" y="2002"/>
                  </a:lnTo>
                  <a:lnTo>
                    <a:pt x="2171" y="2001"/>
                  </a:lnTo>
                  <a:lnTo>
                    <a:pt x="2163" y="2000"/>
                  </a:lnTo>
                  <a:lnTo>
                    <a:pt x="2158" y="1997"/>
                  </a:lnTo>
                  <a:lnTo>
                    <a:pt x="2154" y="1993"/>
                  </a:lnTo>
                  <a:lnTo>
                    <a:pt x="2150" y="1988"/>
                  </a:lnTo>
                  <a:lnTo>
                    <a:pt x="2147" y="1983"/>
                  </a:lnTo>
                  <a:lnTo>
                    <a:pt x="2145" y="1976"/>
                  </a:lnTo>
                  <a:lnTo>
                    <a:pt x="2145" y="1969"/>
                  </a:lnTo>
                  <a:lnTo>
                    <a:pt x="2145" y="1143"/>
                  </a:lnTo>
                  <a:lnTo>
                    <a:pt x="2145" y="1143"/>
                  </a:lnTo>
                  <a:lnTo>
                    <a:pt x="2145" y="1140"/>
                  </a:lnTo>
                  <a:lnTo>
                    <a:pt x="2147" y="1139"/>
                  </a:lnTo>
                  <a:lnTo>
                    <a:pt x="2149" y="1136"/>
                  </a:lnTo>
                  <a:lnTo>
                    <a:pt x="2150" y="1134"/>
                  </a:lnTo>
                  <a:lnTo>
                    <a:pt x="2210" y="982"/>
                  </a:lnTo>
                  <a:lnTo>
                    <a:pt x="2210" y="982"/>
                  </a:lnTo>
                  <a:lnTo>
                    <a:pt x="2213" y="976"/>
                  </a:lnTo>
                  <a:lnTo>
                    <a:pt x="2214" y="971"/>
                  </a:lnTo>
                  <a:lnTo>
                    <a:pt x="2215" y="960"/>
                  </a:lnTo>
                  <a:lnTo>
                    <a:pt x="2214" y="950"/>
                  </a:lnTo>
                  <a:lnTo>
                    <a:pt x="2209" y="939"/>
                  </a:lnTo>
                  <a:lnTo>
                    <a:pt x="2203" y="929"/>
                  </a:lnTo>
                  <a:lnTo>
                    <a:pt x="2196" y="921"/>
                  </a:lnTo>
                  <a:lnTo>
                    <a:pt x="2185" y="913"/>
                  </a:lnTo>
                  <a:lnTo>
                    <a:pt x="2174" y="908"/>
                  </a:lnTo>
                  <a:lnTo>
                    <a:pt x="792" y="419"/>
                  </a:lnTo>
                  <a:lnTo>
                    <a:pt x="792" y="419"/>
                  </a:lnTo>
                  <a:lnTo>
                    <a:pt x="781" y="415"/>
                  </a:lnTo>
                  <a:lnTo>
                    <a:pt x="773" y="409"/>
                  </a:lnTo>
                  <a:lnTo>
                    <a:pt x="765" y="402"/>
                  </a:lnTo>
                  <a:lnTo>
                    <a:pt x="759" y="394"/>
                  </a:lnTo>
                  <a:lnTo>
                    <a:pt x="755" y="384"/>
                  </a:lnTo>
                  <a:lnTo>
                    <a:pt x="751" y="375"/>
                  </a:lnTo>
                  <a:lnTo>
                    <a:pt x="750" y="364"/>
                  </a:lnTo>
                  <a:lnTo>
                    <a:pt x="750" y="353"/>
                  </a:lnTo>
                  <a:lnTo>
                    <a:pt x="792" y="118"/>
                  </a:lnTo>
                  <a:lnTo>
                    <a:pt x="792" y="118"/>
                  </a:lnTo>
                  <a:lnTo>
                    <a:pt x="793" y="110"/>
                  </a:lnTo>
                  <a:lnTo>
                    <a:pt x="792" y="100"/>
                  </a:lnTo>
                  <a:lnTo>
                    <a:pt x="790" y="92"/>
                  </a:lnTo>
                  <a:lnTo>
                    <a:pt x="786" y="83"/>
                  </a:lnTo>
                  <a:lnTo>
                    <a:pt x="780" y="77"/>
                  </a:lnTo>
                  <a:lnTo>
                    <a:pt x="774" y="70"/>
                  </a:lnTo>
                  <a:lnTo>
                    <a:pt x="765" y="65"/>
                  </a:lnTo>
                  <a:lnTo>
                    <a:pt x="755" y="61"/>
                  </a:lnTo>
                  <a:lnTo>
                    <a:pt x="586" y="3"/>
                  </a:lnTo>
                  <a:lnTo>
                    <a:pt x="586" y="3"/>
                  </a:lnTo>
                  <a:lnTo>
                    <a:pt x="576" y="1"/>
                  </a:lnTo>
                  <a:lnTo>
                    <a:pt x="567" y="0"/>
                  </a:lnTo>
                  <a:lnTo>
                    <a:pt x="556" y="1"/>
                  </a:lnTo>
                  <a:lnTo>
                    <a:pt x="546" y="3"/>
                  </a:lnTo>
                  <a:lnTo>
                    <a:pt x="537" y="6"/>
                  </a:lnTo>
                  <a:lnTo>
                    <a:pt x="529" y="11"/>
                  </a:lnTo>
                  <a:lnTo>
                    <a:pt x="522" y="17"/>
                  </a:lnTo>
                  <a:lnTo>
                    <a:pt x="517" y="25"/>
                  </a:lnTo>
                  <a:lnTo>
                    <a:pt x="278" y="373"/>
                  </a:lnTo>
                  <a:lnTo>
                    <a:pt x="278" y="373"/>
                  </a:lnTo>
                  <a:lnTo>
                    <a:pt x="275" y="378"/>
                  </a:lnTo>
                  <a:lnTo>
                    <a:pt x="273" y="382"/>
                  </a:lnTo>
                  <a:lnTo>
                    <a:pt x="272" y="386"/>
                  </a:lnTo>
                  <a:lnTo>
                    <a:pt x="270" y="389"/>
                  </a:lnTo>
                  <a:lnTo>
                    <a:pt x="195" y="801"/>
                  </a:lnTo>
                  <a:lnTo>
                    <a:pt x="195" y="801"/>
                  </a:lnTo>
                  <a:lnTo>
                    <a:pt x="194" y="811"/>
                  </a:lnTo>
                  <a:lnTo>
                    <a:pt x="195" y="820"/>
                  </a:lnTo>
                  <a:lnTo>
                    <a:pt x="197" y="828"/>
                  </a:lnTo>
                  <a:lnTo>
                    <a:pt x="202" y="837"/>
                  </a:lnTo>
                  <a:lnTo>
                    <a:pt x="207" y="844"/>
                  </a:lnTo>
                  <a:lnTo>
                    <a:pt x="215" y="849"/>
                  </a:lnTo>
                  <a:lnTo>
                    <a:pt x="222" y="855"/>
                  </a:lnTo>
                  <a:lnTo>
                    <a:pt x="233" y="859"/>
                  </a:lnTo>
                  <a:lnTo>
                    <a:pt x="401" y="917"/>
                  </a:lnTo>
                  <a:lnTo>
                    <a:pt x="401" y="917"/>
                  </a:lnTo>
                  <a:lnTo>
                    <a:pt x="411" y="919"/>
                  </a:lnTo>
                  <a:lnTo>
                    <a:pt x="421" y="920"/>
                  </a:lnTo>
                  <a:lnTo>
                    <a:pt x="431" y="919"/>
                  </a:lnTo>
                  <a:lnTo>
                    <a:pt x="441" y="917"/>
                  </a:lnTo>
                  <a:lnTo>
                    <a:pt x="450" y="913"/>
                  </a:lnTo>
                  <a:lnTo>
                    <a:pt x="458" y="909"/>
                  </a:lnTo>
                  <a:lnTo>
                    <a:pt x="465" y="903"/>
                  </a:lnTo>
                  <a:lnTo>
                    <a:pt x="471" y="896"/>
                  </a:lnTo>
                  <a:lnTo>
                    <a:pt x="611" y="695"/>
                  </a:lnTo>
                  <a:lnTo>
                    <a:pt x="611" y="695"/>
                  </a:lnTo>
                  <a:lnTo>
                    <a:pt x="618" y="686"/>
                  </a:lnTo>
                  <a:lnTo>
                    <a:pt x="625" y="679"/>
                  </a:lnTo>
                  <a:lnTo>
                    <a:pt x="635" y="673"/>
                  </a:lnTo>
                  <a:lnTo>
                    <a:pt x="645" y="670"/>
                  </a:lnTo>
                  <a:lnTo>
                    <a:pt x="655" y="668"/>
                  </a:lnTo>
                  <a:lnTo>
                    <a:pt x="665" y="667"/>
                  </a:lnTo>
                  <a:lnTo>
                    <a:pt x="676" y="668"/>
                  </a:lnTo>
                  <a:lnTo>
                    <a:pt x="685" y="670"/>
                  </a:lnTo>
                  <a:lnTo>
                    <a:pt x="928" y="757"/>
                  </a:lnTo>
                  <a:lnTo>
                    <a:pt x="928" y="757"/>
                  </a:lnTo>
                  <a:lnTo>
                    <a:pt x="926" y="762"/>
                  </a:lnTo>
                  <a:lnTo>
                    <a:pt x="925" y="766"/>
                  </a:lnTo>
                  <a:lnTo>
                    <a:pt x="924" y="772"/>
                  </a:lnTo>
                  <a:lnTo>
                    <a:pt x="923" y="777"/>
                  </a:lnTo>
                  <a:lnTo>
                    <a:pt x="779" y="2594"/>
                  </a:lnTo>
                  <a:lnTo>
                    <a:pt x="779" y="2594"/>
                  </a:lnTo>
                  <a:lnTo>
                    <a:pt x="778" y="2604"/>
                  </a:lnTo>
                  <a:lnTo>
                    <a:pt x="775" y="2611"/>
                  </a:lnTo>
                  <a:lnTo>
                    <a:pt x="771" y="2620"/>
                  </a:lnTo>
                  <a:lnTo>
                    <a:pt x="763" y="2626"/>
                  </a:lnTo>
                  <a:lnTo>
                    <a:pt x="756" y="2631"/>
                  </a:lnTo>
                  <a:lnTo>
                    <a:pt x="746" y="2636"/>
                  </a:lnTo>
                  <a:lnTo>
                    <a:pt x="736" y="2639"/>
                  </a:lnTo>
                  <a:lnTo>
                    <a:pt x="726" y="2639"/>
                  </a:lnTo>
                  <a:lnTo>
                    <a:pt x="53" y="2639"/>
                  </a:lnTo>
                  <a:lnTo>
                    <a:pt x="53" y="2639"/>
                  </a:lnTo>
                  <a:lnTo>
                    <a:pt x="43" y="2640"/>
                  </a:lnTo>
                  <a:lnTo>
                    <a:pt x="33" y="2643"/>
                  </a:lnTo>
                  <a:lnTo>
                    <a:pt x="23" y="2647"/>
                  </a:lnTo>
                  <a:lnTo>
                    <a:pt x="16" y="2653"/>
                  </a:lnTo>
                  <a:lnTo>
                    <a:pt x="10" y="2660"/>
                  </a:lnTo>
                  <a:lnTo>
                    <a:pt x="4" y="2669"/>
                  </a:lnTo>
                  <a:lnTo>
                    <a:pt x="1" y="2678"/>
                  </a:lnTo>
                  <a:lnTo>
                    <a:pt x="0" y="2689"/>
                  </a:lnTo>
                  <a:lnTo>
                    <a:pt x="0" y="2862"/>
                  </a:lnTo>
                  <a:lnTo>
                    <a:pt x="0" y="2862"/>
                  </a:lnTo>
                  <a:lnTo>
                    <a:pt x="1" y="2872"/>
                  </a:lnTo>
                  <a:lnTo>
                    <a:pt x="4" y="2881"/>
                  </a:lnTo>
                  <a:lnTo>
                    <a:pt x="10" y="2890"/>
                  </a:lnTo>
                  <a:lnTo>
                    <a:pt x="16" y="2897"/>
                  </a:lnTo>
                  <a:lnTo>
                    <a:pt x="23" y="2902"/>
                  </a:lnTo>
                  <a:lnTo>
                    <a:pt x="33" y="2907"/>
                  </a:lnTo>
                  <a:lnTo>
                    <a:pt x="43" y="2910"/>
                  </a:lnTo>
                  <a:lnTo>
                    <a:pt x="53" y="2911"/>
                  </a:lnTo>
                  <a:lnTo>
                    <a:pt x="2388" y="2911"/>
                  </a:lnTo>
                  <a:lnTo>
                    <a:pt x="2388" y="2911"/>
                  </a:lnTo>
                  <a:lnTo>
                    <a:pt x="2398" y="2910"/>
                  </a:lnTo>
                  <a:lnTo>
                    <a:pt x="2408" y="2907"/>
                  </a:lnTo>
                  <a:lnTo>
                    <a:pt x="2418" y="2902"/>
                  </a:lnTo>
                  <a:lnTo>
                    <a:pt x="2425" y="2897"/>
                  </a:lnTo>
                  <a:lnTo>
                    <a:pt x="2431" y="2890"/>
                  </a:lnTo>
                  <a:lnTo>
                    <a:pt x="2437" y="2881"/>
                  </a:lnTo>
                  <a:lnTo>
                    <a:pt x="2440" y="2872"/>
                  </a:lnTo>
                  <a:lnTo>
                    <a:pt x="2441" y="2862"/>
                  </a:lnTo>
                  <a:lnTo>
                    <a:pt x="2441" y="2689"/>
                  </a:lnTo>
                  <a:lnTo>
                    <a:pt x="2441" y="2689"/>
                  </a:lnTo>
                  <a:lnTo>
                    <a:pt x="2439" y="2681"/>
                  </a:lnTo>
                  <a:lnTo>
                    <a:pt x="2435" y="2673"/>
                  </a:lnTo>
                  <a:lnTo>
                    <a:pt x="2428" y="2667"/>
                  </a:lnTo>
                  <a:lnTo>
                    <a:pt x="2422" y="2660"/>
                  </a:lnTo>
                  <a:lnTo>
                    <a:pt x="2413" y="2655"/>
                  </a:lnTo>
                  <a:lnTo>
                    <a:pt x="2404" y="2651"/>
                  </a:lnTo>
                  <a:lnTo>
                    <a:pt x="2394" y="2648"/>
                  </a:lnTo>
                  <a:lnTo>
                    <a:pt x="2383" y="2647"/>
                  </a:lnTo>
                  <a:lnTo>
                    <a:pt x="2383" y="2647"/>
                  </a:lnTo>
                  <a:close/>
                  <a:moveTo>
                    <a:pt x="1105" y="1155"/>
                  </a:moveTo>
                  <a:lnTo>
                    <a:pt x="1105" y="1155"/>
                  </a:lnTo>
                  <a:lnTo>
                    <a:pt x="1105" y="1150"/>
                  </a:lnTo>
                  <a:lnTo>
                    <a:pt x="1372" y="933"/>
                  </a:lnTo>
                  <a:lnTo>
                    <a:pt x="1372" y="933"/>
                  </a:lnTo>
                  <a:lnTo>
                    <a:pt x="1377" y="930"/>
                  </a:lnTo>
                  <a:lnTo>
                    <a:pt x="1381" y="929"/>
                  </a:lnTo>
                  <a:lnTo>
                    <a:pt x="1385" y="930"/>
                  </a:lnTo>
                  <a:lnTo>
                    <a:pt x="1390" y="933"/>
                  </a:lnTo>
                  <a:lnTo>
                    <a:pt x="1393" y="936"/>
                  </a:lnTo>
                  <a:lnTo>
                    <a:pt x="1396" y="940"/>
                  </a:lnTo>
                  <a:lnTo>
                    <a:pt x="1398" y="947"/>
                  </a:lnTo>
                  <a:lnTo>
                    <a:pt x="1400" y="954"/>
                  </a:lnTo>
                  <a:lnTo>
                    <a:pt x="1438" y="1438"/>
                  </a:lnTo>
                  <a:lnTo>
                    <a:pt x="1438" y="1438"/>
                  </a:lnTo>
                  <a:lnTo>
                    <a:pt x="1437" y="1446"/>
                  </a:lnTo>
                  <a:lnTo>
                    <a:pt x="1435" y="1453"/>
                  </a:lnTo>
                  <a:lnTo>
                    <a:pt x="1431" y="1459"/>
                  </a:lnTo>
                  <a:lnTo>
                    <a:pt x="1428" y="1463"/>
                  </a:lnTo>
                  <a:lnTo>
                    <a:pt x="1424" y="1466"/>
                  </a:lnTo>
                  <a:lnTo>
                    <a:pt x="1418" y="1467"/>
                  </a:lnTo>
                  <a:lnTo>
                    <a:pt x="1413" y="1466"/>
                  </a:lnTo>
                  <a:lnTo>
                    <a:pt x="1409" y="1463"/>
                  </a:lnTo>
                  <a:lnTo>
                    <a:pt x="1105" y="1155"/>
                  </a:lnTo>
                  <a:close/>
                  <a:moveTo>
                    <a:pt x="1347" y="1582"/>
                  </a:moveTo>
                  <a:lnTo>
                    <a:pt x="1347" y="1582"/>
                  </a:lnTo>
                  <a:lnTo>
                    <a:pt x="1347" y="1582"/>
                  </a:lnTo>
                  <a:lnTo>
                    <a:pt x="1349" y="1585"/>
                  </a:lnTo>
                  <a:lnTo>
                    <a:pt x="1348" y="1586"/>
                  </a:lnTo>
                  <a:lnTo>
                    <a:pt x="1343" y="1587"/>
                  </a:lnTo>
                  <a:lnTo>
                    <a:pt x="981" y="1813"/>
                  </a:lnTo>
                  <a:lnTo>
                    <a:pt x="981" y="1813"/>
                  </a:lnTo>
                  <a:lnTo>
                    <a:pt x="977" y="1815"/>
                  </a:lnTo>
                  <a:lnTo>
                    <a:pt x="972" y="1815"/>
                  </a:lnTo>
                  <a:lnTo>
                    <a:pt x="968" y="1813"/>
                  </a:lnTo>
                  <a:lnTo>
                    <a:pt x="964" y="1810"/>
                  </a:lnTo>
                  <a:lnTo>
                    <a:pt x="961" y="1806"/>
                  </a:lnTo>
                  <a:lnTo>
                    <a:pt x="958" y="1800"/>
                  </a:lnTo>
                  <a:lnTo>
                    <a:pt x="957" y="1795"/>
                  </a:lnTo>
                  <a:lnTo>
                    <a:pt x="956" y="1788"/>
                  </a:lnTo>
                  <a:lnTo>
                    <a:pt x="998" y="1283"/>
                  </a:lnTo>
                  <a:lnTo>
                    <a:pt x="998" y="1283"/>
                  </a:lnTo>
                  <a:lnTo>
                    <a:pt x="998" y="1275"/>
                  </a:lnTo>
                  <a:lnTo>
                    <a:pt x="1000" y="1270"/>
                  </a:lnTo>
                  <a:lnTo>
                    <a:pt x="1003" y="1266"/>
                  </a:lnTo>
                  <a:lnTo>
                    <a:pt x="1008" y="1262"/>
                  </a:lnTo>
                  <a:lnTo>
                    <a:pt x="1012" y="1260"/>
                  </a:lnTo>
                  <a:lnTo>
                    <a:pt x="1016" y="1260"/>
                  </a:lnTo>
                  <a:lnTo>
                    <a:pt x="1021" y="1262"/>
                  </a:lnTo>
                  <a:lnTo>
                    <a:pt x="1027" y="1267"/>
                  </a:lnTo>
                  <a:lnTo>
                    <a:pt x="1347" y="1582"/>
                  </a:lnTo>
                  <a:close/>
                  <a:moveTo>
                    <a:pt x="1442" y="1702"/>
                  </a:moveTo>
                  <a:lnTo>
                    <a:pt x="1442" y="1702"/>
                  </a:lnTo>
                  <a:lnTo>
                    <a:pt x="1446" y="1700"/>
                  </a:lnTo>
                  <a:lnTo>
                    <a:pt x="1451" y="1699"/>
                  </a:lnTo>
                  <a:lnTo>
                    <a:pt x="1455" y="1700"/>
                  </a:lnTo>
                  <a:lnTo>
                    <a:pt x="1459" y="1703"/>
                  </a:lnTo>
                  <a:lnTo>
                    <a:pt x="1462" y="1706"/>
                  </a:lnTo>
                  <a:lnTo>
                    <a:pt x="1464" y="1711"/>
                  </a:lnTo>
                  <a:lnTo>
                    <a:pt x="1465" y="1716"/>
                  </a:lnTo>
                  <a:lnTo>
                    <a:pt x="1467" y="1722"/>
                  </a:lnTo>
                  <a:lnTo>
                    <a:pt x="1504" y="2150"/>
                  </a:lnTo>
                  <a:lnTo>
                    <a:pt x="1504" y="2150"/>
                  </a:lnTo>
                  <a:lnTo>
                    <a:pt x="1503" y="2158"/>
                  </a:lnTo>
                  <a:lnTo>
                    <a:pt x="1502" y="2164"/>
                  </a:lnTo>
                  <a:lnTo>
                    <a:pt x="1499" y="2169"/>
                  </a:lnTo>
                  <a:lnTo>
                    <a:pt x="1495" y="2173"/>
                  </a:lnTo>
                  <a:lnTo>
                    <a:pt x="1492" y="2176"/>
                  </a:lnTo>
                  <a:lnTo>
                    <a:pt x="1488" y="2177"/>
                  </a:lnTo>
                  <a:lnTo>
                    <a:pt x="1484" y="2177"/>
                  </a:lnTo>
                  <a:lnTo>
                    <a:pt x="1478" y="2175"/>
                  </a:lnTo>
                  <a:lnTo>
                    <a:pt x="1100" y="1915"/>
                  </a:lnTo>
                  <a:lnTo>
                    <a:pt x="1442" y="1702"/>
                  </a:lnTo>
                  <a:close/>
                  <a:moveTo>
                    <a:pt x="1223" y="868"/>
                  </a:moveTo>
                  <a:lnTo>
                    <a:pt x="1223" y="868"/>
                  </a:lnTo>
                  <a:lnTo>
                    <a:pt x="1047" y="1015"/>
                  </a:lnTo>
                  <a:lnTo>
                    <a:pt x="1047" y="1015"/>
                  </a:lnTo>
                  <a:lnTo>
                    <a:pt x="1042" y="1018"/>
                  </a:lnTo>
                  <a:lnTo>
                    <a:pt x="1037" y="1019"/>
                  </a:lnTo>
                  <a:lnTo>
                    <a:pt x="1032" y="1018"/>
                  </a:lnTo>
                  <a:lnTo>
                    <a:pt x="1028" y="1015"/>
                  </a:lnTo>
                  <a:lnTo>
                    <a:pt x="1024" y="1011"/>
                  </a:lnTo>
                  <a:lnTo>
                    <a:pt x="1020" y="1005"/>
                  </a:lnTo>
                  <a:lnTo>
                    <a:pt x="1018" y="998"/>
                  </a:lnTo>
                  <a:lnTo>
                    <a:pt x="1018" y="990"/>
                  </a:lnTo>
                  <a:lnTo>
                    <a:pt x="1030" y="846"/>
                  </a:lnTo>
                  <a:lnTo>
                    <a:pt x="1030" y="846"/>
                  </a:lnTo>
                  <a:lnTo>
                    <a:pt x="1031" y="842"/>
                  </a:lnTo>
                  <a:lnTo>
                    <a:pt x="1032" y="838"/>
                  </a:lnTo>
                  <a:lnTo>
                    <a:pt x="1035" y="829"/>
                  </a:lnTo>
                  <a:lnTo>
                    <a:pt x="1039" y="827"/>
                  </a:lnTo>
                  <a:lnTo>
                    <a:pt x="1041" y="824"/>
                  </a:lnTo>
                  <a:lnTo>
                    <a:pt x="1044" y="823"/>
                  </a:lnTo>
                  <a:lnTo>
                    <a:pt x="1047" y="822"/>
                  </a:lnTo>
                  <a:lnTo>
                    <a:pt x="1100" y="822"/>
                  </a:lnTo>
                  <a:lnTo>
                    <a:pt x="1223" y="868"/>
                  </a:lnTo>
                  <a:close/>
                  <a:moveTo>
                    <a:pt x="890" y="2586"/>
                  </a:moveTo>
                  <a:lnTo>
                    <a:pt x="932" y="2015"/>
                  </a:lnTo>
                  <a:lnTo>
                    <a:pt x="932" y="2015"/>
                  </a:lnTo>
                  <a:lnTo>
                    <a:pt x="933" y="2008"/>
                  </a:lnTo>
                  <a:lnTo>
                    <a:pt x="934" y="2003"/>
                  </a:lnTo>
                  <a:lnTo>
                    <a:pt x="937" y="1999"/>
                  </a:lnTo>
                  <a:lnTo>
                    <a:pt x="941" y="1994"/>
                  </a:lnTo>
                  <a:lnTo>
                    <a:pt x="945" y="1992"/>
                  </a:lnTo>
                  <a:lnTo>
                    <a:pt x="949" y="1991"/>
                  </a:lnTo>
                  <a:lnTo>
                    <a:pt x="953" y="1991"/>
                  </a:lnTo>
                  <a:lnTo>
                    <a:pt x="956" y="1993"/>
                  </a:lnTo>
                  <a:lnTo>
                    <a:pt x="1380" y="2281"/>
                  </a:lnTo>
                  <a:lnTo>
                    <a:pt x="1380" y="2281"/>
                  </a:lnTo>
                  <a:lnTo>
                    <a:pt x="1385" y="2287"/>
                  </a:lnTo>
                  <a:lnTo>
                    <a:pt x="1390" y="2292"/>
                  </a:lnTo>
                  <a:lnTo>
                    <a:pt x="1392" y="2297"/>
                  </a:lnTo>
                  <a:lnTo>
                    <a:pt x="1392" y="2304"/>
                  </a:lnTo>
                  <a:lnTo>
                    <a:pt x="1392" y="2310"/>
                  </a:lnTo>
                  <a:lnTo>
                    <a:pt x="1390" y="2317"/>
                  </a:lnTo>
                  <a:lnTo>
                    <a:pt x="1385" y="2322"/>
                  </a:lnTo>
                  <a:lnTo>
                    <a:pt x="1380" y="2326"/>
                  </a:lnTo>
                  <a:lnTo>
                    <a:pt x="916" y="2610"/>
                  </a:lnTo>
                  <a:lnTo>
                    <a:pt x="916" y="2610"/>
                  </a:lnTo>
                  <a:lnTo>
                    <a:pt x="910" y="2612"/>
                  </a:lnTo>
                  <a:lnTo>
                    <a:pt x="906" y="2613"/>
                  </a:lnTo>
                  <a:lnTo>
                    <a:pt x="902" y="2611"/>
                  </a:lnTo>
                  <a:lnTo>
                    <a:pt x="899" y="2609"/>
                  </a:lnTo>
                  <a:lnTo>
                    <a:pt x="895" y="2605"/>
                  </a:lnTo>
                  <a:lnTo>
                    <a:pt x="892" y="2599"/>
                  </a:lnTo>
                  <a:lnTo>
                    <a:pt x="891" y="2593"/>
                  </a:lnTo>
                  <a:lnTo>
                    <a:pt x="890" y="2586"/>
                  </a:lnTo>
                  <a:lnTo>
                    <a:pt x="890" y="2586"/>
                  </a:lnTo>
                  <a:close/>
                  <a:moveTo>
                    <a:pt x="1483" y="2647"/>
                  </a:moveTo>
                  <a:lnTo>
                    <a:pt x="1207" y="2647"/>
                  </a:lnTo>
                  <a:lnTo>
                    <a:pt x="1207" y="2647"/>
                  </a:lnTo>
                  <a:lnTo>
                    <a:pt x="1200" y="2646"/>
                  </a:lnTo>
                  <a:lnTo>
                    <a:pt x="1194" y="2643"/>
                  </a:lnTo>
                  <a:lnTo>
                    <a:pt x="1190" y="2639"/>
                  </a:lnTo>
                  <a:lnTo>
                    <a:pt x="1187" y="2635"/>
                  </a:lnTo>
                  <a:lnTo>
                    <a:pt x="1186" y="2628"/>
                  </a:lnTo>
                  <a:lnTo>
                    <a:pt x="1187" y="2623"/>
                  </a:lnTo>
                  <a:lnTo>
                    <a:pt x="1190" y="2619"/>
                  </a:lnTo>
                  <a:lnTo>
                    <a:pt x="1194" y="2614"/>
                  </a:lnTo>
                  <a:lnTo>
                    <a:pt x="1500" y="2430"/>
                  </a:lnTo>
                  <a:lnTo>
                    <a:pt x="1500" y="2430"/>
                  </a:lnTo>
                  <a:lnTo>
                    <a:pt x="1504" y="2428"/>
                  </a:lnTo>
                  <a:lnTo>
                    <a:pt x="1508" y="2427"/>
                  </a:lnTo>
                  <a:lnTo>
                    <a:pt x="1512" y="2429"/>
                  </a:lnTo>
                  <a:lnTo>
                    <a:pt x="1516" y="2431"/>
                  </a:lnTo>
                  <a:lnTo>
                    <a:pt x="1519" y="2434"/>
                  </a:lnTo>
                  <a:lnTo>
                    <a:pt x="1522" y="2439"/>
                  </a:lnTo>
                  <a:lnTo>
                    <a:pt x="1523" y="2445"/>
                  </a:lnTo>
                  <a:lnTo>
                    <a:pt x="1524" y="2450"/>
                  </a:lnTo>
                  <a:lnTo>
                    <a:pt x="1536" y="2594"/>
                  </a:lnTo>
                  <a:lnTo>
                    <a:pt x="1536" y="2594"/>
                  </a:lnTo>
                  <a:lnTo>
                    <a:pt x="1535" y="2605"/>
                  </a:lnTo>
                  <a:lnTo>
                    <a:pt x="1532" y="2614"/>
                  </a:lnTo>
                  <a:lnTo>
                    <a:pt x="1527" y="2624"/>
                  </a:lnTo>
                  <a:lnTo>
                    <a:pt x="1520" y="2631"/>
                  </a:lnTo>
                  <a:lnTo>
                    <a:pt x="1512" y="2638"/>
                  </a:lnTo>
                  <a:lnTo>
                    <a:pt x="1503" y="2643"/>
                  </a:lnTo>
                  <a:lnTo>
                    <a:pt x="1493" y="2646"/>
                  </a:lnTo>
                  <a:lnTo>
                    <a:pt x="1483" y="2647"/>
                  </a:lnTo>
                  <a:lnTo>
                    <a:pt x="1483" y="2647"/>
                  </a:lnTo>
                  <a:close/>
                  <a:moveTo>
                    <a:pt x="1853" y="2084"/>
                  </a:moveTo>
                  <a:lnTo>
                    <a:pt x="1853" y="2598"/>
                  </a:lnTo>
                  <a:lnTo>
                    <a:pt x="1853" y="2598"/>
                  </a:lnTo>
                  <a:lnTo>
                    <a:pt x="1852" y="2608"/>
                  </a:lnTo>
                  <a:lnTo>
                    <a:pt x="1849" y="2618"/>
                  </a:lnTo>
                  <a:lnTo>
                    <a:pt x="1843" y="2626"/>
                  </a:lnTo>
                  <a:lnTo>
                    <a:pt x="1837" y="2634"/>
                  </a:lnTo>
                  <a:lnTo>
                    <a:pt x="1829" y="2639"/>
                  </a:lnTo>
                  <a:lnTo>
                    <a:pt x="1820" y="2643"/>
                  </a:lnTo>
                  <a:lnTo>
                    <a:pt x="1810" y="2646"/>
                  </a:lnTo>
                  <a:lnTo>
                    <a:pt x="1800" y="2647"/>
                  </a:lnTo>
                  <a:lnTo>
                    <a:pt x="1705" y="2647"/>
                  </a:lnTo>
                  <a:lnTo>
                    <a:pt x="1705" y="2647"/>
                  </a:lnTo>
                  <a:lnTo>
                    <a:pt x="1694" y="2646"/>
                  </a:lnTo>
                  <a:lnTo>
                    <a:pt x="1684" y="2644"/>
                  </a:lnTo>
                  <a:lnTo>
                    <a:pt x="1676" y="2640"/>
                  </a:lnTo>
                  <a:lnTo>
                    <a:pt x="1667" y="2634"/>
                  </a:lnTo>
                  <a:lnTo>
                    <a:pt x="1661" y="2627"/>
                  </a:lnTo>
                  <a:lnTo>
                    <a:pt x="1655" y="2620"/>
                  </a:lnTo>
                  <a:lnTo>
                    <a:pt x="1652" y="2611"/>
                  </a:lnTo>
                  <a:lnTo>
                    <a:pt x="1651" y="2603"/>
                  </a:lnTo>
                  <a:lnTo>
                    <a:pt x="1524" y="1023"/>
                  </a:lnTo>
                  <a:lnTo>
                    <a:pt x="1524" y="1023"/>
                  </a:lnTo>
                  <a:lnTo>
                    <a:pt x="1525" y="1015"/>
                  </a:lnTo>
                  <a:lnTo>
                    <a:pt x="1528" y="1006"/>
                  </a:lnTo>
                  <a:lnTo>
                    <a:pt x="1533" y="1000"/>
                  </a:lnTo>
                  <a:lnTo>
                    <a:pt x="1539" y="995"/>
                  </a:lnTo>
                  <a:lnTo>
                    <a:pt x="1546" y="990"/>
                  </a:lnTo>
                  <a:lnTo>
                    <a:pt x="1553" y="988"/>
                  </a:lnTo>
                  <a:lnTo>
                    <a:pt x="1562" y="988"/>
                  </a:lnTo>
                  <a:lnTo>
                    <a:pt x="1569" y="990"/>
                  </a:lnTo>
                  <a:lnTo>
                    <a:pt x="1939" y="1123"/>
                  </a:lnTo>
                  <a:lnTo>
                    <a:pt x="1939" y="1123"/>
                  </a:lnTo>
                  <a:lnTo>
                    <a:pt x="1947" y="1126"/>
                  </a:lnTo>
                  <a:lnTo>
                    <a:pt x="1954" y="1130"/>
                  </a:lnTo>
                  <a:lnTo>
                    <a:pt x="1960" y="1135"/>
                  </a:lnTo>
                  <a:lnTo>
                    <a:pt x="1966" y="1142"/>
                  </a:lnTo>
                  <a:lnTo>
                    <a:pt x="1970" y="1149"/>
                  </a:lnTo>
                  <a:lnTo>
                    <a:pt x="1974" y="1157"/>
                  </a:lnTo>
                  <a:lnTo>
                    <a:pt x="1976" y="1164"/>
                  </a:lnTo>
                  <a:lnTo>
                    <a:pt x="1977" y="1172"/>
                  </a:lnTo>
                  <a:lnTo>
                    <a:pt x="1977" y="1969"/>
                  </a:lnTo>
                  <a:lnTo>
                    <a:pt x="1977" y="1969"/>
                  </a:lnTo>
                  <a:lnTo>
                    <a:pt x="1976" y="1975"/>
                  </a:lnTo>
                  <a:lnTo>
                    <a:pt x="1974" y="1982"/>
                  </a:lnTo>
                  <a:lnTo>
                    <a:pt x="1970" y="1987"/>
                  </a:lnTo>
                  <a:lnTo>
                    <a:pt x="1966" y="1991"/>
                  </a:lnTo>
                  <a:lnTo>
                    <a:pt x="1961" y="1995"/>
                  </a:lnTo>
                  <a:lnTo>
                    <a:pt x="1955" y="1999"/>
                  </a:lnTo>
                  <a:lnTo>
                    <a:pt x="1950" y="2001"/>
                  </a:lnTo>
                  <a:lnTo>
                    <a:pt x="1944" y="2002"/>
                  </a:lnTo>
                  <a:lnTo>
                    <a:pt x="1944" y="2002"/>
                  </a:lnTo>
                  <a:lnTo>
                    <a:pt x="1934" y="2002"/>
                  </a:lnTo>
                  <a:lnTo>
                    <a:pt x="1925" y="2004"/>
                  </a:lnTo>
                  <a:lnTo>
                    <a:pt x="1917" y="2006"/>
                  </a:lnTo>
                  <a:lnTo>
                    <a:pt x="1908" y="2008"/>
                  </a:lnTo>
                  <a:lnTo>
                    <a:pt x="1901" y="2011"/>
                  </a:lnTo>
                  <a:lnTo>
                    <a:pt x="1893" y="2016"/>
                  </a:lnTo>
                  <a:lnTo>
                    <a:pt x="1886" y="2021"/>
                  </a:lnTo>
                  <a:lnTo>
                    <a:pt x="1880" y="2026"/>
                  </a:lnTo>
                  <a:lnTo>
                    <a:pt x="1874" y="2032"/>
                  </a:lnTo>
                  <a:lnTo>
                    <a:pt x="1869" y="2038"/>
                  </a:lnTo>
                  <a:lnTo>
                    <a:pt x="1864" y="2045"/>
                  </a:lnTo>
                  <a:lnTo>
                    <a:pt x="1860" y="2052"/>
                  </a:lnTo>
                  <a:lnTo>
                    <a:pt x="1857" y="2059"/>
                  </a:lnTo>
                  <a:lnTo>
                    <a:pt x="1855" y="2068"/>
                  </a:lnTo>
                  <a:lnTo>
                    <a:pt x="1853" y="2075"/>
                  </a:lnTo>
                  <a:lnTo>
                    <a:pt x="1853" y="2084"/>
                  </a:lnTo>
                  <a:lnTo>
                    <a:pt x="1853" y="2084"/>
                  </a:lnTo>
                  <a:close/>
                </a:path>
              </a:pathLst>
            </a:custGeom>
            <a:grpFill/>
            <a:ln>
              <a:noFill/>
            </a:ln>
          </p:spPr>
          <p:txBody>
            <a:bodyPr vert="horz" wrap="square" lIns="91380" tIns="45690" rIns="91380" bIns="45690" numCol="1" anchor="t" anchorCtr="0" compatLnSpc="1">
              <a:prstTxWarp prst="textNoShape">
                <a:avLst/>
              </a:prstTxWarp>
            </a:bodyPr>
            <a:lstStyle/>
            <a:p>
              <a:endParaRPr lang="en-US" sz="1600">
                <a:solidFill>
                  <a:srgbClr val="000000"/>
                </a:solidFill>
                <a:latin typeface="Arial" panose="020B0604020202020204"/>
              </a:endParaRPr>
            </a:p>
          </p:txBody>
        </p:sp>
        <p:pic>
          <p:nvPicPr>
            <p:cNvPr id="105" name="Grafik 104" descr="Fabrik">
              <a:extLst>
                <a:ext uri="{FF2B5EF4-FFF2-40B4-BE49-F238E27FC236}">
                  <a16:creationId xmlns:a16="http://schemas.microsoft.com/office/drawing/2014/main" id="{4AAAE452-AB09-46DD-B9D3-5D2AF82608E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45528" y="1720165"/>
              <a:ext cx="900000" cy="900000"/>
            </a:xfrm>
            <a:prstGeom prst="rect">
              <a:avLst/>
            </a:prstGeom>
          </p:spPr>
        </p:pic>
      </p:grpSp>
      <p:sp>
        <p:nvSpPr>
          <p:cNvPr id="2" name="Pfeil: nach rechts 1">
            <a:extLst>
              <a:ext uri="{FF2B5EF4-FFF2-40B4-BE49-F238E27FC236}">
                <a16:creationId xmlns:a16="http://schemas.microsoft.com/office/drawing/2014/main" id="{DBBF583B-9F1C-C314-38E0-489AE2ED439C}"/>
              </a:ext>
            </a:extLst>
          </p:cNvPr>
          <p:cNvSpPr/>
          <p:nvPr/>
        </p:nvSpPr>
        <p:spPr>
          <a:xfrm>
            <a:off x="1175442" y="6170269"/>
            <a:ext cx="352579" cy="29322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latin typeface="Arial"/>
            </a:endParaRPr>
          </a:p>
        </p:txBody>
      </p:sp>
      <p:pic>
        <p:nvPicPr>
          <p:cNvPr id="63" name="Picture 9" descr="Clearcoat">
            <a:extLst>
              <a:ext uri="{FF2B5EF4-FFF2-40B4-BE49-F238E27FC236}">
                <a16:creationId xmlns:a16="http://schemas.microsoft.com/office/drawing/2014/main" id="{FAA29061-4D52-223B-B56F-91D4BD5E0324}"/>
              </a:ext>
            </a:extLst>
          </p:cNvPr>
          <p:cNvPicPr>
            <a:picLocks noChangeAspect="1" noChangeArrowheads="1"/>
          </p:cNvPicPr>
          <p:nvPr/>
        </p:nvPicPr>
        <p:blipFill>
          <a:blip r:embed="rId11" cstate="print">
            <a:duotone>
              <a:srgbClr val="004A9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89343" y="2419874"/>
            <a:ext cx="949082" cy="949082"/>
          </a:xfrm>
          <a:prstGeom prst="rect">
            <a:avLst/>
          </a:prstGeom>
          <a:solidFill>
            <a:schemeClr val="accent2"/>
          </a:solidFill>
          <a:ln>
            <a:noFill/>
          </a:ln>
        </p:spPr>
      </p:pic>
      <p:pic>
        <p:nvPicPr>
          <p:cNvPr id="64" name="Picture 107" descr="BASF_Car_2_1col_db_rgb.emf">
            <a:extLst>
              <a:ext uri="{FF2B5EF4-FFF2-40B4-BE49-F238E27FC236}">
                <a16:creationId xmlns:a16="http://schemas.microsoft.com/office/drawing/2014/main" id="{D9AB98D8-006B-E970-C659-2AA6CD5E6140}"/>
              </a:ext>
            </a:extLst>
          </p:cNvPr>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131497" y="2696894"/>
            <a:ext cx="854466" cy="352538"/>
          </a:xfrm>
          <a:prstGeom prst="rect">
            <a:avLst/>
          </a:prstGeom>
        </p:spPr>
      </p:pic>
      <p:sp>
        <p:nvSpPr>
          <p:cNvPr id="65" name="Pfeil: Chevron 75">
            <a:extLst>
              <a:ext uri="{FF2B5EF4-FFF2-40B4-BE49-F238E27FC236}">
                <a16:creationId xmlns:a16="http://schemas.microsoft.com/office/drawing/2014/main" id="{9D0A4850-A5B0-6072-C7EB-9C2EBAF5CFA6}"/>
              </a:ext>
            </a:extLst>
          </p:cNvPr>
          <p:cNvSpPr/>
          <p:nvPr/>
        </p:nvSpPr>
        <p:spPr>
          <a:xfrm>
            <a:off x="868695" y="1944072"/>
            <a:ext cx="3010106" cy="373528"/>
          </a:xfrm>
          <a:prstGeom prst="chevr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rgbClr val="FFFFFF"/>
                </a:solidFill>
                <a:latin typeface="Arial" panose="020B0604020202020204"/>
              </a:rPr>
              <a:t>Materialien</a:t>
            </a:r>
            <a:endParaRPr lang="en-US" dirty="0">
              <a:solidFill>
                <a:srgbClr val="FFFFFF"/>
              </a:solidFill>
              <a:latin typeface="Arial" panose="020B0604020202020204"/>
            </a:endParaRPr>
          </a:p>
        </p:txBody>
      </p:sp>
      <p:sp>
        <p:nvSpPr>
          <p:cNvPr id="66" name="Pfeil: Chevron 76">
            <a:extLst>
              <a:ext uri="{FF2B5EF4-FFF2-40B4-BE49-F238E27FC236}">
                <a16:creationId xmlns:a16="http://schemas.microsoft.com/office/drawing/2014/main" id="{676BEA1C-B132-6FDD-EFAB-0D4797346DDA}"/>
              </a:ext>
            </a:extLst>
          </p:cNvPr>
          <p:cNvSpPr/>
          <p:nvPr/>
        </p:nvSpPr>
        <p:spPr>
          <a:xfrm>
            <a:off x="3826443" y="1940240"/>
            <a:ext cx="2722382" cy="373528"/>
          </a:xfrm>
          <a:prstGeom prst="chevr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Arial" panose="020B0604020202020204"/>
              </a:rPr>
              <a:t>Produktion</a:t>
            </a:r>
          </a:p>
        </p:txBody>
      </p:sp>
      <p:sp>
        <p:nvSpPr>
          <p:cNvPr id="68" name="Pfeil: Chevron 77">
            <a:extLst>
              <a:ext uri="{FF2B5EF4-FFF2-40B4-BE49-F238E27FC236}">
                <a16:creationId xmlns:a16="http://schemas.microsoft.com/office/drawing/2014/main" id="{73B0A91A-68A6-0088-EADF-DFD5631EF7DD}"/>
              </a:ext>
            </a:extLst>
          </p:cNvPr>
          <p:cNvSpPr/>
          <p:nvPr/>
        </p:nvSpPr>
        <p:spPr>
          <a:xfrm>
            <a:off x="6629875" y="1940240"/>
            <a:ext cx="3309641" cy="369550"/>
          </a:xfrm>
          <a:prstGeom prst="chevr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Arial" panose="020B0604020202020204"/>
              </a:rPr>
              <a:t>Fuel and vehicle operation</a:t>
            </a:r>
          </a:p>
        </p:txBody>
      </p:sp>
      <p:cxnSp>
        <p:nvCxnSpPr>
          <p:cNvPr id="69" name="Gerader Verbinder 78">
            <a:extLst>
              <a:ext uri="{FF2B5EF4-FFF2-40B4-BE49-F238E27FC236}">
                <a16:creationId xmlns:a16="http://schemas.microsoft.com/office/drawing/2014/main" id="{0706FA90-232C-D9EF-0394-7AD6FF3E2AC4}"/>
              </a:ext>
            </a:extLst>
          </p:cNvPr>
          <p:cNvCxnSpPr>
            <a:cxnSpLocks/>
          </p:cNvCxnSpPr>
          <p:nvPr/>
        </p:nvCxnSpPr>
        <p:spPr>
          <a:xfrm>
            <a:off x="872292" y="1754083"/>
            <a:ext cx="558505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Gerader Verbinder 79">
            <a:extLst>
              <a:ext uri="{FF2B5EF4-FFF2-40B4-BE49-F238E27FC236}">
                <a16:creationId xmlns:a16="http://schemas.microsoft.com/office/drawing/2014/main" id="{2CB24A49-454D-EC09-BBA7-8881904BD5C9}"/>
              </a:ext>
            </a:extLst>
          </p:cNvPr>
          <p:cNvCxnSpPr>
            <a:cxnSpLocks/>
          </p:cNvCxnSpPr>
          <p:nvPr/>
        </p:nvCxnSpPr>
        <p:spPr>
          <a:xfrm>
            <a:off x="6629874" y="1754083"/>
            <a:ext cx="312003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2" name="Textfeld 80">
            <a:extLst>
              <a:ext uri="{FF2B5EF4-FFF2-40B4-BE49-F238E27FC236}">
                <a16:creationId xmlns:a16="http://schemas.microsoft.com/office/drawing/2014/main" id="{A2AD5D2A-9C5E-614D-FA4E-DE5611C2F85C}"/>
              </a:ext>
            </a:extLst>
          </p:cNvPr>
          <p:cNvSpPr txBox="1"/>
          <p:nvPr/>
        </p:nvSpPr>
        <p:spPr>
          <a:xfrm>
            <a:off x="2786212" y="1579890"/>
            <a:ext cx="1982359" cy="276927"/>
          </a:xfrm>
          <a:prstGeom prst="rect">
            <a:avLst/>
          </a:prstGeom>
          <a:solidFill>
            <a:schemeClr val="bg1"/>
          </a:solidFill>
        </p:spPr>
        <p:txBody>
          <a:bodyPr wrap="square" lIns="0" tIns="0" rIns="0" bIns="0" rtlCol="0">
            <a:spAutoFit/>
          </a:bodyPr>
          <a:lstStyle/>
          <a:p>
            <a:pPr algn="ctr"/>
            <a:r>
              <a:rPr lang="en-US" dirty="0">
                <a:solidFill>
                  <a:srgbClr val="FFFFFF">
                    <a:lumMod val="50000"/>
                  </a:srgbClr>
                </a:solidFill>
                <a:latin typeface="Arial" panose="020B0604020202020204"/>
              </a:rPr>
              <a:t>Produktionsphase</a:t>
            </a:r>
          </a:p>
        </p:txBody>
      </p:sp>
      <p:cxnSp>
        <p:nvCxnSpPr>
          <p:cNvPr id="107" name="Gerader Verbinder 82">
            <a:extLst>
              <a:ext uri="{FF2B5EF4-FFF2-40B4-BE49-F238E27FC236}">
                <a16:creationId xmlns:a16="http://schemas.microsoft.com/office/drawing/2014/main" id="{51B8C461-D375-D9D4-C045-AE1256987CB6}"/>
              </a:ext>
            </a:extLst>
          </p:cNvPr>
          <p:cNvCxnSpPr>
            <a:cxnSpLocks/>
          </p:cNvCxnSpPr>
          <p:nvPr/>
        </p:nvCxnSpPr>
        <p:spPr>
          <a:xfrm>
            <a:off x="10056560" y="1754083"/>
            <a:ext cx="169152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8" name="Pfeil: Chevron 83">
            <a:extLst>
              <a:ext uri="{FF2B5EF4-FFF2-40B4-BE49-F238E27FC236}">
                <a16:creationId xmlns:a16="http://schemas.microsoft.com/office/drawing/2014/main" id="{9C35B74B-4CCD-1EDE-F150-86F12F9CD8CB}"/>
              </a:ext>
            </a:extLst>
          </p:cNvPr>
          <p:cNvSpPr/>
          <p:nvPr/>
        </p:nvSpPr>
        <p:spPr>
          <a:xfrm>
            <a:off x="10060037" y="1940240"/>
            <a:ext cx="1690385" cy="373528"/>
          </a:xfrm>
          <a:prstGeom prst="chevr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Arial" panose="020B0604020202020204"/>
              </a:rPr>
              <a:t>Recycling</a:t>
            </a:r>
          </a:p>
        </p:txBody>
      </p:sp>
      <p:sp>
        <p:nvSpPr>
          <p:cNvPr id="109" name="Textfeld 84">
            <a:extLst>
              <a:ext uri="{FF2B5EF4-FFF2-40B4-BE49-F238E27FC236}">
                <a16:creationId xmlns:a16="http://schemas.microsoft.com/office/drawing/2014/main" id="{420D0D39-58F8-F7CF-CBAB-9E22887701BD}"/>
              </a:ext>
            </a:extLst>
          </p:cNvPr>
          <p:cNvSpPr txBox="1"/>
          <p:nvPr/>
        </p:nvSpPr>
        <p:spPr>
          <a:xfrm>
            <a:off x="7569413" y="1579889"/>
            <a:ext cx="1320003" cy="276927"/>
          </a:xfrm>
          <a:prstGeom prst="rect">
            <a:avLst/>
          </a:prstGeom>
          <a:solidFill>
            <a:schemeClr val="bg1"/>
          </a:solidFill>
        </p:spPr>
        <p:txBody>
          <a:bodyPr wrap="square" lIns="0" tIns="0" rIns="0" bIns="0" rtlCol="0">
            <a:spAutoFit/>
          </a:bodyPr>
          <a:lstStyle/>
          <a:p>
            <a:pPr algn="ctr"/>
            <a:r>
              <a:rPr lang="en-US" dirty="0">
                <a:solidFill>
                  <a:srgbClr val="FFFFFF">
                    <a:lumMod val="50000"/>
                  </a:srgbClr>
                </a:solidFill>
                <a:latin typeface="Arial" panose="020B0604020202020204"/>
              </a:rPr>
              <a:t>Use phase</a:t>
            </a:r>
          </a:p>
        </p:txBody>
      </p:sp>
      <p:sp>
        <p:nvSpPr>
          <p:cNvPr id="110" name="Grafik 132">
            <a:extLst>
              <a:ext uri="{FF2B5EF4-FFF2-40B4-BE49-F238E27FC236}">
                <a16:creationId xmlns:a16="http://schemas.microsoft.com/office/drawing/2014/main" id="{09E18F4D-8555-F8DF-1189-1CE2240EFDB6}"/>
              </a:ext>
            </a:extLst>
          </p:cNvPr>
          <p:cNvSpPr/>
          <p:nvPr/>
        </p:nvSpPr>
        <p:spPr>
          <a:xfrm>
            <a:off x="10691409" y="2627847"/>
            <a:ext cx="490491" cy="490491"/>
          </a:xfrm>
          <a:custGeom>
            <a:avLst/>
            <a:gdLst>
              <a:gd name="connsiteX0" fmla="*/ 312706 w 625411"/>
              <a:gd name="connsiteY0" fmla="*/ 0 h 625411"/>
              <a:gd name="connsiteX1" fmla="*/ 0 w 625411"/>
              <a:gd name="connsiteY1" fmla="*/ 312706 h 625411"/>
              <a:gd name="connsiteX2" fmla="*/ 312706 w 625411"/>
              <a:gd name="connsiteY2" fmla="*/ 625412 h 625411"/>
              <a:gd name="connsiteX3" fmla="*/ 625412 w 625411"/>
              <a:gd name="connsiteY3" fmla="*/ 312706 h 625411"/>
              <a:gd name="connsiteX4" fmla="*/ 312706 w 625411"/>
              <a:gd name="connsiteY4" fmla="*/ 0 h 625411"/>
              <a:gd name="connsiteX5" fmla="*/ 370427 w 625411"/>
              <a:gd name="connsiteY5" fmla="*/ 77534 h 625411"/>
              <a:gd name="connsiteX6" fmla="*/ 394240 w 625411"/>
              <a:gd name="connsiteY6" fmla="*/ 101156 h 625411"/>
              <a:gd name="connsiteX7" fmla="*/ 364903 w 625411"/>
              <a:gd name="connsiteY7" fmla="*/ 130397 h 625411"/>
              <a:gd name="connsiteX8" fmla="*/ 441865 w 625411"/>
              <a:gd name="connsiteY8" fmla="*/ 130397 h 625411"/>
              <a:gd name="connsiteX9" fmla="*/ 496348 w 625411"/>
              <a:gd name="connsiteY9" fmla="*/ 183547 h 625411"/>
              <a:gd name="connsiteX10" fmla="*/ 496348 w 625411"/>
              <a:gd name="connsiteY10" fmla="*/ 296037 h 625411"/>
              <a:gd name="connsiteX11" fmla="*/ 479203 w 625411"/>
              <a:gd name="connsiteY11" fmla="*/ 278987 h 625411"/>
              <a:gd name="connsiteX12" fmla="*/ 460820 w 625411"/>
              <a:gd name="connsiteY12" fmla="*/ 296037 h 625411"/>
              <a:gd name="connsiteX13" fmla="*/ 460820 w 625411"/>
              <a:gd name="connsiteY13" fmla="*/ 183547 h 625411"/>
              <a:gd name="connsiteX14" fmla="*/ 441770 w 625411"/>
              <a:gd name="connsiteY14" fmla="*/ 164497 h 625411"/>
              <a:gd name="connsiteX15" fmla="*/ 364903 w 625411"/>
              <a:gd name="connsiteY15" fmla="*/ 164497 h 625411"/>
              <a:gd name="connsiteX16" fmla="*/ 394240 w 625411"/>
              <a:gd name="connsiteY16" fmla="*/ 193834 h 625411"/>
              <a:gd name="connsiteX17" fmla="*/ 370427 w 625411"/>
              <a:gd name="connsiteY17" fmla="*/ 217742 h 625411"/>
              <a:gd name="connsiteX18" fmla="*/ 300228 w 625411"/>
              <a:gd name="connsiteY18" fmla="*/ 147447 h 625411"/>
              <a:gd name="connsiteX19" fmla="*/ 76200 w 625411"/>
              <a:gd name="connsiteY19" fmla="*/ 257175 h 625411"/>
              <a:gd name="connsiteX20" fmla="*/ 99822 w 625411"/>
              <a:gd name="connsiteY20" fmla="*/ 233363 h 625411"/>
              <a:gd name="connsiteX21" fmla="*/ 129064 w 625411"/>
              <a:gd name="connsiteY21" fmla="*/ 262700 h 625411"/>
              <a:gd name="connsiteX22" fmla="*/ 129064 w 625411"/>
              <a:gd name="connsiteY22" fmla="*/ 185261 h 625411"/>
              <a:gd name="connsiteX23" fmla="*/ 182213 w 625411"/>
              <a:gd name="connsiteY23" fmla="*/ 130778 h 625411"/>
              <a:gd name="connsiteX24" fmla="*/ 295275 w 625411"/>
              <a:gd name="connsiteY24" fmla="*/ 130778 h 625411"/>
              <a:gd name="connsiteX25" fmla="*/ 278225 w 625411"/>
              <a:gd name="connsiteY25" fmla="*/ 147923 h 625411"/>
              <a:gd name="connsiteX26" fmla="*/ 295275 w 625411"/>
              <a:gd name="connsiteY26" fmla="*/ 166306 h 625411"/>
              <a:gd name="connsiteX27" fmla="*/ 182404 w 625411"/>
              <a:gd name="connsiteY27" fmla="*/ 166306 h 625411"/>
              <a:gd name="connsiteX28" fmla="*/ 163354 w 625411"/>
              <a:gd name="connsiteY28" fmla="*/ 185356 h 625411"/>
              <a:gd name="connsiteX29" fmla="*/ 163354 w 625411"/>
              <a:gd name="connsiteY29" fmla="*/ 262319 h 625411"/>
              <a:gd name="connsiteX30" fmla="*/ 192691 w 625411"/>
              <a:gd name="connsiteY30" fmla="*/ 232981 h 625411"/>
              <a:gd name="connsiteX31" fmla="*/ 216694 w 625411"/>
              <a:gd name="connsiteY31" fmla="*/ 257175 h 625411"/>
              <a:gd name="connsiteX32" fmla="*/ 146399 w 625411"/>
              <a:gd name="connsiteY32" fmla="*/ 327374 h 625411"/>
              <a:gd name="connsiteX33" fmla="*/ 255079 w 625411"/>
              <a:gd name="connsiteY33" fmla="*/ 547878 h 625411"/>
              <a:gd name="connsiteX34" fmla="*/ 231172 w 625411"/>
              <a:gd name="connsiteY34" fmla="*/ 524351 h 625411"/>
              <a:gd name="connsiteX35" fmla="*/ 260509 w 625411"/>
              <a:gd name="connsiteY35" fmla="*/ 495300 h 625411"/>
              <a:gd name="connsiteX36" fmla="*/ 183642 w 625411"/>
              <a:gd name="connsiteY36" fmla="*/ 495300 h 625411"/>
              <a:gd name="connsiteX37" fmla="*/ 129159 w 625411"/>
              <a:gd name="connsiteY37" fmla="*/ 442150 h 625411"/>
              <a:gd name="connsiteX38" fmla="*/ 129159 w 625411"/>
              <a:gd name="connsiteY38" fmla="*/ 329375 h 625411"/>
              <a:gd name="connsiteX39" fmla="*/ 146209 w 625411"/>
              <a:gd name="connsiteY39" fmla="*/ 346424 h 625411"/>
              <a:gd name="connsiteX40" fmla="*/ 164592 w 625411"/>
              <a:gd name="connsiteY40" fmla="*/ 329375 h 625411"/>
              <a:gd name="connsiteX41" fmla="*/ 164592 w 625411"/>
              <a:gd name="connsiteY41" fmla="*/ 441865 h 625411"/>
              <a:gd name="connsiteX42" fmla="*/ 183642 w 625411"/>
              <a:gd name="connsiteY42" fmla="*/ 460915 h 625411"/>
              <a:gd name="connsiteX43" fmla="*/ 260509 w 625411"/>
              <a:gd name="connsiteY43" fmla="*/ 460915 h 625411"/>
              <a:gd name="connsiteX44" fmla="*/ 231172 w 625411"/>
              <a:gd name="connsiteY44" fmla="*/ 431483 h 625411"/>
              <a:gd name="connsiteX45" fmla="*/ 255079 w 625411"/>
              <a:gd name="connsiteY45" fmla="*/ 407575 h 625411"/>
              <a:gd name="connsiteX46" fmla="*/ 325279 w 625411"/>
              <a:gd name="connsiteY46" fmla="*/ 477869 h 625411"/>
              <a:gd name="connsiteX47" fmla="*/ 525494 w 625411"/>
              <a:gd name="connsiteY47" fmla="*/ 392525 h 625411"/>
              <a:gd name="connsiteX48" fmla="*/ 496157 w 625411"/>
              <a:gd name="connsiteY48" fmla="*/ 363188 h 625411"/>
              <a:gd name="connsiteX49" fmla="*/ 496157 w 625411"/>
              <a:gd name="connsiteY49" fmla="*/ 440150 h 625411"/>
              <a:gd name="connsiteX50" fmla="*/ 443008 w 625411"/>
              <a:gd name="connsiteY50" fmla="*/ 494633 h 625411"/>
              <a:gd name="connsiteX51" fmla="*/ 330518 w 625411"/>
              <a:gd name="connsiteY51" fmla="*/ 494633 h 625411"/>
              <a:gd name="connsiteX52" fmla="*/ 347662 w 625411"/>
              <a:gd name="connsiteY52" fmla="*/ 477488 h 625411"/>
              <a:gd name="connsiteX53" fmla="*/ 330518 w 625411"/>
              <a:gd name="connsiteY53" fmla="*/ 459105 h 625411"/>
              <a:gd name="connsiteX54" fmla="*/ 443008 w 625411"/>
              <a:gd name="connsiteY54" fmla="*/ 459105 h 625411"/>
              <a:gd name="connsiteX55" fmla="*/ 462058 w 625411"/>
              <a:gd name="connsiteY55" fmla="*/ 440055 h 625411"/>
              <a:gd name="connsiteX56" fmla="*/ 462058 w 625411"/>
              <a:gd name="connsiteY56" fmla="*/ 363188 h 625411"/>
              <a:gd name="connsiteX57" fmla="*/ 432721 w 625411"/>
              <a:gd name="connsiteY57" fmla="*/ 392525 h 625411"/>
              <a:gd name="connsiteX58" fmla="*/ 408813 w 625411"/>
              <a:gd name="connsiteY58" fmla="*/ 368713 h 625411"/>
              <a:gd name="connsiteX59" fmla="*/ 479203 w 625411"/>
              <a:gd name="connsiteY59" fmla="*/ 298514 h 625411"/>
              <a:gd name="connsiteX60" fmla="*/ 549116 w 625411"/>
              <a:gd name="connsiteY60" fmla="*/ 368713 h 62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25411" h="625411">
                <a:moveTo>
                  <a:pt x="312706" y="0"/>
                </a:moveTo>
                <a:cubicBezTo>
                  <a:pt x="140003" y="0"/>
                  <a:pt x="0" y="140003"/>
                  <a:pt x="0" y="312706"/>
                </a:cubicBezTo>
                <a:cubicBezTo>
                  <a:pt x="0" y="485408"/>
                  <a:pt x="140003" y="625412"/>
                  <a:pt x="312706" y="625412"/>
                </a:cubicBezTo>
                <a:cubicBezTo>
                  <a:pt x="485408" y="625412"/>
                  <a:pt x="625412" y="485408"/>
                  <a:pt x="625412" y="312706"/>
                </a:cubicBezTo>
                <a:cubicBezTo>
                  <a:pt x="625412" y="140003"/>
                  <a:pt x="485408" y="0"/>
                  <a:pt x="312706" y="0"/>
                </a:cubicBezTo>
                <a:close/>
                <a:moveTo>
                  <a:pt x="370427" y="77534"/>
                </a:moveTo>
                <a:lnTo>
                  <a:pt x="394240" y="101156"/>
                </a:lnTo>
                <a:lnTo>
                  <a:pt x="364903" y="130397"/>
                </a:lnTo>
                <a:lnTo>
                  <a:pt x="441865" y="130397"/>
                </a:lnTo>
                <a:cubicBezTo>
                  <a:pt x="471483" y="130287"/>
                  <a:pt x="495724" y="153935"/>
                  <a:pt x="496348" y="183547"/>
                </a:cubicBezTo>
                <a:lnTo>
                  <a:pt x="496348" y="296037"/>
                </a:lnTo>
                <a:lnTo>
                  <a:pt x="479203" y="278987"/>
                </a:lnTo>
                <a:lnTo>
                  <a:pt x="460820" y="296037"/>
                </a:lnTo>
                <a:lnTo>
                  <a:pt x="460820" y="183547"/>
                </a:lnTo>
                <a:cubicBezTo>
                  <a:pt x="460820" y="173026"/>
                  <a:pt x="452291" y="164497"/>
                  <a:pt x="441770" y="164497"/>
                </a:cubicBezTo>
                <a:lnTo>
                  <a:pt x="364903" y="164497"/>
                </a:lnTo>
                <a:lnTo>
                  <a:pt x="394240" y="193834"/>
                </a:lnTo>
                <a:lnTo>
                  <a:pt x="370427" y="217742"/>
                </a:lnTo>
                <a:lnTo>
                  <a:pt x="300228" y="147447"/>
                </a:lnTo>
                <a:close/>
                <a:moveTo>
                  <a:pt x="76200" y="257175"/>
                </a:moveTo>
                <a:lnTo>
                  <a:pt x="99822" y="233363"/>
                </a:lnTo>
                <a:lnTo>
                  <a:pt x="129064" y="262700"/>
                </a:lnTo>
                <a:lnTo>
                  <a:pt x="129064" y="185261"/>
                </a:lnTo>
                <a:cubicBezTo>
                  <a:pt x="128953" y="155643"/>
                  <a:pt x="152601" y="131402"/>
                  <a:pt x="182213" y="130778"/>
                </a:cubicBezTo>
                <a:lnTo>
                  <a:pt x="295275" y="130778"/>
                </a:lnTo>
                <a:lnTo>
                  <a:pt x="278225" y="147923"/>
                </a:lnTo>
                <a:lnTo>
                  <a:pt x="295275" y="166306"/>
                </a:lnTo>
                <a:lnTo>
                  <a:pt x="182404" y="166306"/>
                </a:lnTo>
                <a:cubicBezTo>
                  <a:pt x="171883" y="166306"/>
                  <a:pt x="163354" y="174835"/>
                  <a:pt x="163354" y="185356"/>
                </a:cubicBezTo>
                <a:lnTo>
                  <a:pt x="163354" y="262319"/>
                </a:lnTo>
                <a:lnTo>
                  <a:pt x="192691" y="232981"/>
                </a:lnTo>
                <a:lnTo>
                  <a:pt x="216694" y="257175"/>
                </a:lnTo>
                <a:lnTo>
                  <a:pt x="146399" y="327374"/>
                </a:lnTo>
                <a:close/>
                <a:moveTo>
                  <a:pt x="255079" y="547878"/>
                </a:moveTo>
                <a:lnTo>
                  <a:pt x="231172" y="524351"/>
                </a:lnTo>
                <a:lnTo>
                  <a:pt x="260509" y="495300"/>
                </a:lnTo>
                <a:lnTo>
                  <a:pt x="183642" y="495300"/>
                </a:lnTo>
                <a:cubicBezTo>
                  <a:pt x="154024" y="495411"/>
                  <a:pt x="129782" y="471762"/>
                  <a:pt x="129159" y="442150"/>
                </a:cubicBezTo>
                <a:lnTo>
                  <a:pt x="129159" y="329375"/>
                </a:lnTo>
                <a:lnTo>
                  <a:pt x="146209" y="346424"/>
                </a:lnTo>
                <a:lnTo>
                  <a:pt x="164592" y="329375"/>
                </a:lnTo>
                <a:lnTo>
                  <a:pt x="164592" y="441865"/>
                </a:lnTo>
                <a:cubicBezTo>
                  <a:pt x="164592" y="452386"/>
                  <a:pt x="173121" y="460915"/>
                  <a:pt x="183642" y="460915"/>
                </a:cubicBezTo>
                <a:lnTo>
                  <a:pt x="260509" y="460915"/>
                </a:lnTo>
                <a:lnTo>
                  <a:pt x="231172" y="431483"/>
                </a:lnTo>
                <a:lnTo>
                  <a:pt x="255079" y="407575"/>
                </a:lnTo>
                <a:lnTo>
                  <a:pt x="325279" y="477869"/>
                </a:lnTo>
                <a:close/>
                <a:moveTo>
                  <a:pt x="525494" y="392525"/>
                </a:moveTo>
                <a:lnTo>
                  <a:pt x="496157" y="363188"/>
                </a:lnTo>
                <a:lnTo>
                  <a:pt x="496157" y="440150"/>
                </a:lnTo>
                <a:cubicBezTo>
                  <a:pt x="496268" y="469768"/>
                  <a:pt x="472620" y="494010"/>
                  <a:pt x="443008" y="494633"/>
                </a:cubicBezTo>
                <a:lnTo>
                  <a:pt x="330518" y="494633"/>
                </a:lnTo>
                <a:lnTo>
                  <a:pt x="347662" y="477488"/>
                </a:lnTo>
                <a:lnTo>
                  <a:pt x="330518" y="459105"/>
                </a:lnTo>
                <a:lnTo>
                  <a:pt x="443008" y="459105"/>
                </a:lnTo>
                <a:cubicBezTo>
                  <a:pt x="453529" y="459105"/>
                  <a:pt x="462058" y="450576"/>
                  <a:pt x="462058" y="440055"/>
                </a:cubicBezTo>
                <a:lnTo>
                  <a:pt x="462058" y="363188"/>
                </a:lnTo>
                <a:lnTo>
                  <a:pt x="432721" y="392525"/>
                </a:lnTo>
                <a:lnTo>
                  <a:pt x="408813" y="368713"/>
                </a:lnTo>
                <a:lnTo>
                  <a:pt x="479203" y="298514"/>
                </a:lnTo>
                <a:lnTo>
                  <a:pt x="549116" y="368713"/>
                </a:lnTo>
                <a:close/>
              </a:path>
            </a:pathLst>
          </a:custGeom>
          <a:solidFill>
            <a:srgbClr val="004A96"/>
          </a:solidFill>
          <a:ln w="9525" cap="flat">
            <a:noFill/>
            <a:prstDash val="solid"/>
            <a:miter/>
          </a:ln>
        </p:spPr>
        <p:txBody>
          <a:bodyPr rtlCol="0" anchor="ctr"/>
          <a:lstStyle/>
          <a:p>
            <a:endParaRPr lang="de-DE">
              <a:solidFill>
                <a:srgbClr val="000000"/>
              </a:solidFill>
              <a:latin typeface="Arial" panose="020B0604020202020204"/>
            </a:endParaRPr>
          </a:p>
        </p:txBody>
      </p:sp>
      <p:sp>
        <p:nvSpPr>
          <p:cNvPr id="111" name="Textfeld 87">
            <a:extLst>
              <a:ext uri="{FF2B5EF4-FFF2-40B4-BE49-F238E27FC236}">
                <a16:creationId xmlns:a16="http://schemas.microsoft.com/office/drawing/2014/main" id="{82941DBB-158C-2318-215A-2C3E998869D6}"/>
              </a:ext>
            </a:extLst>
          </p:cNvPr>
          <p:cNvSpPr txBox="1"/>
          <p:nvPr/>
        </p:nvSpPr>
        <p:spPr>
          <a:xfrm>
            <a:off x="10261477" y="1590661"/>
            <a:ext cx="1232508" cy="276927"/>
          </a:xfrm>
          <a:prstGeom prst="rect">
            <a:avLst/>
          </a:prstGeom>
          <a:solidFill>
            <a:schemeClr val="bg1"/>
          </a:solidFill>
        </p:spPr>
        <p:txBody>
          <a:bodyPr wrap="square" lIns="0" tIns="0" rIns="0" bIns="0" rtlCol="0">
            <a:spAutoFit/>
          </a:bodyPr>
          <a:lstStyle/>
          <a:p>
            <a:pPr algn="ctr"/>
            <a:r>
              <a:rPr lang="en-US">
                <a:solidFill>
                  <a:srgbClr val="FFFFFF">
                    <a:lumMod val="50000"/>
                  </a:srgbClr>
                </a:solidFill>
                <a:latin typeface="Arial" panose="020B0604020202020204"/>
              </a:rPr>
              <a:t>End of life</a:t>
            </a:r>
          </a:p>
        </p:txBody>
      </p:sp>
      <p:pic>
        <p:nvPicPr>
          <p:cNvPr id="115" name="Picture 4" descr="Car Pollution Icon Vector Art, Icons ...">
            <a:extLst>
              <a:ext uri="{FF2B5EF4-FFF2-40B4-BE49-F238E27FC236}">
                <a16:creationId xmlns:a16="http://schemas.microsoft.com/office/drawing/2014/main" id="{938E13E1-BF2E-7B0B-3061-2FBA72C5A3EB}"/>
              </a:ext>
            </a:extLst>
          </p:cNvPr>
          <p:cNvPicPr>
            <a:picLocks noChangeAspect="1" noChangeArrowheads="1"/>
          </p:cNvPicPr>
          <p:nvPr/>
        </p:nvPicPr>
        <p:blipFill rotWithShape="1">
          <a:blip r:embed="rId13">
            <a:duotone>
              <a:schemeClr val="accent1">
                <a:shade val="45000"/>
                <a:satMod val="135000"/>
              </a:schemeClr>
              <a:prstClr val="white"/>
            </a:duotone>
            <a:extLst>
              <a:ext uri="{28A0092B-C50C-407E-A947-70E740481C1C}">
                <a14:useLocalDpi xmlns:a14="http://schemas.microsoft.com/office/drawing/2010/main" val="0"/>
              </a:ext>
            </a:extLst>
          </a:blip>
          <a:srcRect l="6260" t="21778" r="57652" b="32094"/>
          <a:stretch/>
        </p:blipFill>
        <p:spPr bwMode="auto">
          <a:xfrm rot="19818522">
            <a:off x="6798420" y="2600400"/>
            <a:ext cx="304996" cy="415750"/>
          </a:xfrm>
          <a:prstGeom prst="ellipse">
            <a:avLst/>
          </a:prstGeom>
          <a:noFill/>
          <a:extLst>
            <a:ext uri="{909E8E84-426E-40DD-AFC4-6F175D3DCCD1}">
              <a14:hiddenFill xmlns:a14="http://schemas.microsoft.com/office/drawing/2010/main">
                <a:solidFill>
                  <a:srgbClr val="FFFFFF"/>
                </a:solidFill>
              </a14:hiddenFill>
            </a:ext>
          </a:extLst>
        </p:spPr>
      </p:pic>
      <p:sp>
        <p:nvSpPr>
          <p:cNvPr id="119" name="Textfeld 87">
            <a:extLst>
              <a:ext uri="{FF2B5EF4-FFF2-40B4-BE49-F238E27FC236}">
                <a16:creationId xmlns:a16="http://schemas.microsoft.com/office/drawing/2014/main" id="{C7B9AC21-5209-4A9A-EE24-E5F306996E71}"/>
              </a:ext>
            </a:extLst>
          </p:cNvPr>
          <p:cNvSpPr txBox="1"/>
          <p:nvPr/>
        </p:nvSpPr>
        <p:spPr>
          <a:xfrm>
            <a:off x="8088288" y="2668012"/>
            <a:ext cx="522705" cy="276927"/>
          </a:xfrm>
          <a:prstGeom prst="rect">
            <a:avLst/>
          </a:prstGeom>
          <a:solidFill>
            <a:schemeClr val="bg1"/>
          </a:solidFill>
        </p:spPr>
        <p:txBody>
          <a:bodyPr wrap="square" lIns="0" tIns="0" rIns="0" bIns="0" rtlCol="0">
            <a:spAutoFit/>
          </a:bodyPr>
          <a:lstStyle/>
          <a:p>
            <a:pPr algn="ctr"/>
            <a:r>
              <a:rPr lang="en-US">
                <a:solidFill>
                  <a:schemeClr val="accent1"/>
                </a:solidFill>
                <a:latin typeface="Arial" panose="020B0604020202020204"/>
              </a:rPr>
              <a:t>vs.</a:t>
            </a:r>
          </a:p>
        </p:txBody>
      </p:sp>
      <p:sp>
        <p:nvSpPr>
          <p:cNvPr id="121" name="Rechteck 7">
            <a:extLst>
              <a:ext uri="{FF2B5EF4-FFF2-40B4-BE49-F238E27FC236}">
                <a16:creationId xmlns:a16="http://schemas.microsoft.com/office/drawing/2014/main" id="{35C50F63-2E5E-1F45-C65E-C7888D82A103}"/>
              </a:ext>
            </a:extLst>
          </p:cNvPr>
          <p:cNvSpPr/>
          <p:nvPr/>
        </p:nvSpPr>
        <p:spPr>
          <a:xfrm>
            <a:off x="6605917" y="1335836"/>
            <a:ext cx="5376772" cy="3618104"/>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127" name="Rectangle 19">
            <a:extLst>
              <a:ext uri="{FF2B5EF4-FFF2-40B4-BE49-F238E27FC236}">
                <a16:creationId xmlns:a16="http://schemas.microsoft.com/office/drawing/2014/main" id="{400BD1FD-AF4A-57A4-9E44-0A8B39F4CF82}"/>
              </a:ext>
            </a:extLst>
          </p:cNvPr>
          <p:cNvSpPr/>
          <p:nvPr/>
        </p:nvSpPr>
        <p:spPr>
          <a:xfrm>
            <a:off x="827688" y="1463202"/>
            <a:ext cx="5745250" cy="4512725"/>
          </a:xfrm>
          <a:prstGeom prst="rect">
            <a:avLst/>
          </a:prstGeom>
          <a:noFill/>
          <a:ln w="3810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hteck 30">
            <a:extLst>
              <a:ext uri="{FF2B5EF4-FFF2-40B4-BE49-F238E27FC236}">
                <a16:creationId xmlns:a16="http://schemas.microsoft.com/office/drawing/2014/main" id="{074DB276-584C-CF4F-6924-4A4FE564E004}"/>
              </a:ext>
            </a:extLst>
          </p:cNvPr>
          <p:cNvSpPr/>
          <p:nvPr/>
        </p:nvSpPr>
        <p:spPr>
          <a:xfrm>
            <a:off x="846160" y="4006535"/>
            <a:ext cx="5713812" cy="1953024"/>
          </a:xfrm>
          <a:prstGeom prst="rect">
            <a:avLst/>
          </a:prstGeom>
          <a:solidFill>
            <a:srgbClr val="FFD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latin typeface="Arial" panose="020B0604020202020204"/>
            </a:endParaRPr>
          </a:p>
        </p:txBody>
      </p:sp>
      <p:sp>
        <p:nvSpPr>
          <p:cNvPr id="36" name="Textfeld 35">
            <a:extLst>
              <a:ext uri="{FF2B5EF4-FFF2-40B4-BE49-F238E27FC236}">
                <a16:creationId xmlns:a16="http://schemas.microsoft.com/office/drawing/2014/main" id="{61E0E777-5AB8-AFD7-6F8A-6390239A56BD}"/>
              </a:ext>
            </a:extLst>
          </p:cNvPr>
          <p:cNvSpPr txBox="1"/>
          <p:nvPr/>
        </p:nvSpPr>
        <p:spPr>
          <a:xfrm>
            <a:off x="1785449" y="4983047"/>
            <a:ext cx="1244943" cy="246221"/>
          </a:xfrm>
          <a:prstGeom prst="rect">
            <a:avLst/>
          </a:prstGeom>
          <a:noFill/>
        </p:spPr>
        <p:txBody>
          <a:bodyPr wrap="square" lIns="0" tIns="0" rIns="0" bIns="0" rtlCol="0">
            <a:spAutoFit/>
          </a:bodyPr>
          <a:lstStyle/>
          <a:p>
            <a:pPr algn="ctr"/>
            <a:r>
              <a:rPr lang="en-US" sz="1600" i="1" dirty="0">
                <a:solidFill>
                  <a:schemeClr val="accent1"/>
                </a:solidFill>
                <a:latin typeface="Arial" panose="020B0604020202020204"/>
              </a:rPr>
              <a:t>  ~30 kg CO</a:t>
            </a:r>
            <a:r>
              <a:rPr lang="en-US" sz="1600" i="1" baseline="-25000" dirty="0">
                <a:solidFill>
                  <a:schemeClr val="accent1"/>
                </a:solidFill>
                <a:latin typeface="Arial" panose="020B0604020202020204"/>
              </a:rPr>
              <a:t>2</a:t>
            </a:r>
            <a:endParaRPr lang="en-US" sz="1600" i="1" baseline="30000" dirty="0">
              <a:solidFill>
                <a:schemeClr val="accent1"/>
              </a:solidFill>
              <a:latin typeface="Arial" panose="020B0604020202020204"/>
            </a:endParaRPr>
          </a:p>
        </p:txBody>
      </p:sp>
      <p:cxnSp>
        <p:nvCxnSpPr>
          <p:cNvPr id="37" name="Gerader Verbinder 36">
            <a:extLst>
              <a:ext uri="{FF2B5EF4-FFF2-40B4-BE49-F238E27FC236}">
                <a16:creationId xmlns:a16="http://schemas.microsoft.com/office/drawing/2014/main" id="{8773A3F9-2F86-21E5-59D6-4E53558E808F}"/>
              </a:ext>
            </a:extLst>
          </p:cNvPr>
          <p:cNvCxnSpPr>
            <a:cxnSpLocks/>
            <a:endCxn id="39" idx="3"/>
          </p:cNvCxnSpPr>
          <p:nvPr/>
        </p:nvCxnSpPr>
        <p:spPr>
          <a:xfrm>
            <a:off x="1157463" y="5530584"/>
            <a:ext cx="2500916" cy="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35D7BE92-3AC5-E3CD-832A-EDF4B8649FA0}"/>
              </a:ext>
            </a:extLst>
          </p:cNvPr>
          <p:cNvCxnSpPr>
            <a:cxnSpLocks/>
          </p:cNvCxnSpPr>
          <p:nvPr/>
        </p:nvCxnSpPr>
        <p:spPr>
          <a:xfrm>
            <a:off x="5367741" y="5711657"/>
            <a:ext cx="94888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Gleichschenkliges Dreieck 38">
            <a:extLst>
              <a:ext uri="{FF2B5EF4-FFF2-40B4-BE49-F238E27FC236}">
                <a16:creationId xmlns:a16="http://schemas.microsoft.com/office/drawing/2014/main" id="{17B54403-8385-07FB-A124-D4729DF02F6C}"/>
              </a:ext>
            </a:extLst>
          </p:cNvPr>
          <p:cNvSpPr/>
          <p:nvPr/>
        </p:nvSpPr>
        <p:spPr>
          <a:xfrm rot="5400000">
            <a:off x="3653924" y="5435211"/>
            <a:ext cx="199660" cy="19075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latin typeface="Arial" panose="020B0604020202020204"/>
            </a:endParaRPr>
          </a:p>
        </p:txBody>
      </p:sp>
      <p:sp>
        <p:nvSpPr>
          <p:cNvPr id="40" name="Gleichschenkliges Dreieck 39">
            <a:extLst>
              <a:ext uri="{FF2B5EF4-FFF2-40B4-BE49-F238E27FC236}">
                <a16:creationId xmlns:a16="http://schemas.microsoft.com/office/drawing/2014/main" id="{6446A660-441B-48E4-A78D-3E59B393F228}"/>
              </a:ext>
            </a:extLst>
          </p:cNvPr>
          <p:cNvSpPr/>
          <p:nvPr/>
        </p:nvSpPr>
        <p:spPr>
          <a:xfrm rot="5400000">
            <a:off x="6278733" y="5612450"/>
            <a:ext cx="199660" cy="19075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latin typeface="Arial" panose="020B0604020202020204"/>
            </a:endParaRPr>
          </a:p>
        </p:txBody>
      </p:sp>
      <p:cxnSp>
        <p:nvCxnSpPr>
          <p:cNvPr id="41" name="Gerader Verbinder 40">
            <a:extLst>
              <a:ext uri="{FF2B5EF4-FFF2-40B4-BE49-F238E27FC236}">
                <a16:creationId xmlns:a16="http://schemas.microsoft.com/office/drawing/2014/main" id="{E5F3682C-C1AE-E0AF-D643-1E98DE298978}"/>
              </a:ext>
            </a:extLst>
          </p:cNvPr>
          <p:cNvCxnSpPr>
            <a:cxnSpLocks/>
          </p:cNvCxnSpPr>
          <p:nvPr/>
        </p:nvCxnSpPr>
        <p:spPr>
          <a:xfrm>
            <a:off x="1156340" y="5702402"/>
            <a:ext cx="327805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08E0C5D4-F065-A246-BE48-F5B7C359AA60}"/>
              </a:ext>
            </a:extLst>
          </p:cNvPr>
          <p:cNvSpPr txBox="1"/>
          <p:nvPr/>
        </p:nvSpPr>
        <p:spPr>
          <a:xfrm>
            <a:off x="4528549" y="5015663"/>
            <a:ext cx="1300809" cy="246221"/>
          </a:xfrm>
          <a:prstGeom prst="rect">
            <a:avLst/>
          </a:prstGeom>
          <a:noFill/>
          <a:ln>
            <a:noFill/>
          </a:ln>
        </p:spPr>
        <p:txBody>
          <a:bodyPr wrap="square" lIns="0" tIns="0" rIns="0" bIns="0" rtlCol="0">
            <a:spAutoFit/>
          </a:bodyPr>
          <a:lstStyle/>
          <a:p>
            <a:pPr algn="ctr"/>
            <a:r>
              <a:rPr lang="en-US" sz="1600" i="1" dirty="0">
                <a:solidFill>
                  <a:schemeClr val="accent1"/>
                </a:solidFill>
                <a:latin typeface="Arial" panose="020B0604020202020204"/>
              </a:rPr>
              <a:t>&gt;200 kg CO</a:t>
            </a:r>
            <a:r>
              <a:rPr lang="en-US" sz="1600" i="1" baseline="-25000" dirty="0">
                <a:solidFill>
                  <a:schemeClr val="accent1"/>
                </a:solidFill>
                <a:latin typeface="Arial" panose="020B0604020202020204"/>
              </a:rPr>
              <a:t>2</a:t>
            </a:r>
          </a:p>
        </p:txBody>
      </p:sp>
      <p:sp>
        <p:nvSpPr>
          <p:cNvPr id="47" name="Textfeld 46">
            <a:extLst>
              <a:ext uri="{FF2B5EF4-FFF2-40B4-BE49-F238E27FC236}">
                <a16:creationId xmlns:a16="http://schemas.microsoft.com/office/drawing/2014/main" id="{F8C5FE72-7244-DD3B-6FFB-2916213E0DE9}"/>
              </a:ext>
            </a:extLst>
          </p:cNvPr>
          <p:cNvSpPr txBox="1"/>
          <p:nvPr/>
        </p:nvSpPr>
        <p:spPr>
          <a:xfrm>
            <a:off x="4214949" y="5559244"/>
            <a:ext cx="1765042" cy="246221"/>
          </a:xfrm>
          <a:prstGeom prst="rect">
            <a:avLst/>
          </a:prstGeom>
          <a:solidFill>
            <a:srgbClr val="FFD99B"/>
          </a:solidFill>
          <a:ln>
            <a:noFill/>
          </a:ln>
        </p:spPr>
        <p:txBody>
          <a:bodyPr wrap="square" lIns="0" tIns="0" rIns="0" bIns="0" rtlCol="0">
            <a:spAutoFit/>
          </a:bodyPr>
          <a:lstStyle/>
          <a:p>
            <a:pPr algn="ctr"/>
            <a:r>
              <a:rPr lang="en-US" sz="1600" b="1" dirty="0">
                <a:solidFill>
                  <a:schemeClr val="accent1"/>
                </a:solidFill>
                <a:latin typeface="Arial" panose="020B0604020202020204"/>
              </a:rPr>
              <a:t>Lackiererei: XCF</a:t>
            </a:r>
          </a:p>
        </p:txBody>
      </p:sp>
      <p:sp>
        <p:nvSpPr>
          <p:cNvPr id="48" name="Textfeld 47">
            <a:extLst>
              <a:ext uri="{FF2B5EF4-FFF2-40B4-BE49-F238E27FC236}">
                <a16:creationId xmlns:a16="http://schemas.microsoft.com/office/drawing/2014/main" id="{833CFFA6-E616-FE66-547B-5434811EA12B}"/>
              </a:ext>
            </a:extLst>
          </p:cNvPr>
          <p:cNvSpPr txBox="1"/>
          <p:nvPr/>
        </p:nvSpPr>
        <p:spPr>
          <a:xfrm>
            <a:off x="1842973" y="5397504"/>
            <a:ext cx="1290577" cy="246221"/>
          </a:xfrm>
          <a:prstGeom prst="rect">
            <a:avLst/>
          </a:prstGeom>
          <a:solidFill>
            <a:srgbClr val="FFD99B"/>
          </a:solidFill>
          <a:ln>
            <a:noFill/>
          </a:ln>
        </p:spPr>
        <p:txBody>
          <a:bodyPr wrap="square" lIns="0" tIns="0" rIns="0" bIns="0" rtlCol="0">
            <a:spAutoFit/>
          </a:bodyPr>
          <a:lstStyle>
            <a:defPPr>
              <a:defRPr lang="de-DE"/>
            </a:defPPr>
            <a:lvl1pPr algn="ctr">
              <a:defRPr b="1">
                <a:solidFill>
                  <a:schemeClr val="bg1">
                    <a:lumMod val="65000"/>
                  </a:schemeClr>
                </a:solidFill>
                <a:latin typeface="Arial" panose="020B0604020202020204"/>
              </a:defRPr>
            </a:lvl1pPr>
          </a:lstStyle>
          <a:p>
            <a:r>
              <a:rPr lang="en-US" sz="1600" dirty="0">
                <a:solidFill>
                  <a:schemeClr val="accent1"/>
                </a:solidFill>
              </a:rPr>
              <a:t>Lack: PCF</a:t>
            </a:r>
          </a:p>
        </p:txBody>
      </p:sp>
      <p:sp>
        <p:nvSpPr>
          <p:cNvPr id="49" name="Foliennummernplatzhalter 2">
            <a:extLst>
              <a:ext uri="{FF2B5EF4-FFF2-40B4-BE49-F238E27FC236}">
                <a16:creationId xmlns:a16="http://schemas.microsoft.com/office/drawing/2014/main" id="{F76F6DC7-E6F6-1A24-D49F-7FE955A5057D}"/>
              </a:ext>
            </a:extLst>
          </p:cNvPr>
          <p:cNvSpPr txBox="1">
            <a:spLocks/>
          </p:cNvSpPr>
          <p:nvPr/>
        </p:nvSpPr>
        <p:spPr>
          <a:xfrm>
            <a:off x="228574" y="6514396"/>
            <a:ext cx="384167" cy="15118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de-DE" sz="900" smtClean="0">
                <a:solidFill>
                  <a:srgbClr val="000000"/>
                </a:solidFill>
                <a:latin typeface="Arial" panose="020B0604020202020204"/>
              </a:rPr>
              <a:pPr/>
              <a:t>17</a:t>
            </a:fld>
            <a:endParaRPr lang="de-DE" sz="900" dirty="0">
              <a:solidFill>
                <a:srgbClr val="000000"/>
              </a:solidFill>
              <a:latin typeface="Arial" panose="020B0604020202020204"/>
            </a:endParaRPr>
          </a:p>
        </p:txBody>
      </p:sp>
      <p:sp>
        <p:nvSpPr>
          <p:cNvPr id="51" name="Textfeld 50">
            <a:extLst>
              <a:ext uri="{FF2B5EF4-FFF2-40B4-BE49-F238E27FC236}">
                <a16:creationId xmlns:a16="http://schemas.microsoft.com/office/drawing/2014/main" id="{AF951D3D-7AD0-FEDB-3CE1-D187E663A5F9}"/>
              </a:ext>
            </a:extLst>
          </p:cNvPr>
          <p:cNvSpPr txBox="1"/>
          <p:nvPr/>
        </p:nvSpPr>
        <p:spPr>
          <a:xfrm>
            <a:off x="4214949" y="6665576"/>
            <a:ext cx="3571491" cy="185524"/>
          </a:xfrm>
          <a:prstGeom prst="rect">
            <a:avLst/>
          </a:prstGeom>
          <a:solidFill>
            <a:schemeClr val="bg1"/>
          </a:solidFill>
        </p:spPr>
        <p:txBody>
          <a:bodyPr wrap="none" lIns="0" tIns="0" rIns="0" bIns="0" rtlCol="0" anchor="ctr">
            <a:noAutofit/>
          </a:bodyPr>
          <a:lstStyle/>
          <a:p>
            <a:pPr algn="ctr"/>
            <a:r>
              <a:rPr lang="de-DE" sz="900" i="1" dirty="0">
                <a:solidFill>
                  <a:schemeClr val="bg1"/>
                </a:solidFill>
              </a:rPr>
              <a:t>GLASS Tool – Markus Piepenbrink, CARES Conference, Detroit 2024</a:t>
            </a:r>
          </a:p>
        </p:txBody>
      </p:sp>
      <p:grpSp>
        <p:nvGrpSpPr>
          <p:cNvPr id="53" name="Gruppieren 52">
            <a:extLst>
              <a:ext uri="{FF2B5EF4-FFF2-40B4-BE49-F238E27FC236}">
                <a16:creationId xmlns:a16="http://schemas.microsoft.com/office/drawing/2014/main" id="{E8D37623-0795-5EE2-033F-06738C97C35F}"/>
              </a:ext>
            </a:extLst>
          </p:cNvPr>
          <p:cNvGrpSpPr/>
          <p:nvPr/>
        </p:nvGrpSpPr>
        <p:grpSpPr>
          <a:xfrm>
            <a:off x="5597347" y="1767764"/>
            <a:ext cx="6431524" cy="3604716"/>
            <a:chOff x="5597347" y="1961408"/>
            <a:chExt cx="6431524" cy="3604716"/>
          </a:xfrm>
        </p:grpSpPr>
        <p:grpSp>
          <p:nvGrpSpPr>
            <p:cNvPr id="72" name="Group 71">
              <a:extLst>
                <a:ext uri="{FF2B5EF4-FFF2-40B4-BE49-F238E27FC236}">
                  <a16:creationId xmlns:a16="http://schemas.microsoft.com/office/drawing/2014/main" id="{A87B2314-FDD9-E61A-BE1A-49D681E20DA6}"/>
                </a:ext>
              </a:extLst>
            </p:cNvPr>
            <p:cNvGrpSpPr/>
            <p:nvPr/>
          </p:nvGrpSpPr>
          <p:grpSpPr>
            <a:xfrm>
              <a:off x="5597347" y="1961408"/>
              <a:ext cx="6431524" cy="3208414"/>
              <a:chOff x="5253529" y="1685245"/>
              <a:chExt cx="6900166" cy="3442197"/>
            </a:xfrm>
          </p:grpSpPr>
          <p:pic>
            <p:nvPicPr>
              <p:cNvPr id="50" name="Grafik 49">
                <a:extLst>
                  <a:ext uri="{FF2B5EF4-FFF2-40B4-BE49-F238E27FC236}">
                    <a16:creationId xmlns:a16="http://schemas.microsoft.com/office/drawing/2014/main" id="{1358D735-FDDF-F5AC-D4E6-54AC5C0BEEBA}"/>
                  </a:ext>
                </a:extLst>
              </p:cNvPr>
              <p:cNvPicPr>
                <a:picLocks noChangeAspect="1"/>
              </p:cNvPicPr>
              <p:nvPr/>
            </p:nvPicPr>
            <p:blipFill rotWithShape="1">
              <a:blip r:embed="rId14"/>
              <a:srcRect r="13059" b="4869"/>
              <a:stretch/>
            </p:blipFill>
            <p:spPr>
              <a:xfrm>
                <a:off x="6583993" y="1699399"/>
                <a:ext cx="5569702" cy="342804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71" name="Right Triangle 70">
                <a:extLst>
                  <a:ext uri="{FF2B5EF4-FFF2-40B4-BE49-F238E27FC236}">
                    <a16:creationId xmlns:a16="http://schemas.microsoft.com/office/drawing/2014/main" id="{F4D989D1-D622-417B-C1A3-02D5C05C4990}"/>
                  </a:ext>
                </a:extLst>
              </p:cNvPr>
              <p:cNvSpPr/>
              <p:nvPr/>
            </p:nvSpPr>
            <p:spPr>
              <a:xfrm flipH="1">
                <a:off x="5253529" y="1685245"/>
                <a:ext cx="1319263" cy="3438583"/>
              </a:xfrm>
              <a:prstGeom prst="rtTriangle">
                <a:avLst/>
              </a:prstGeom>
              <a:gradFill flip="none" rotWithShape="1">
                <a:gsLst>
                  <a:gs pos="0">
                    <a:srgbClr val="FACF8C"/>
                  </a:gs>
                  <a:gs pos="100000">
                    <a:schemeClr val="accent1">
                      <a:lumMod val="45000"/>
                      <a:lumOff val="55000"/>
                    </a:schemeClr>
                  </a:gs>
                  <a:gs pos="100000">
                    <a:srgbClr val="FDF0DB"/>
                  </a:gs>
                  <a:gs pos="100000">
                    <a:srgbClr val="FDF0DB"/>
                  </a:gs>
                  <a:gs pos="99000">
                    <a:srgbClr val="FDF0DB"/>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grpSp>
        <p:sp>
          <p:nvSpPr>
            <p:cNvPr id="5" name="Textfeld 115">
              <a:extLst>
                <a:ext uri="{FF2B5EF4-FFF2-40B4-BE49-F238E27FC236}">
                  <a16:creationId xmlns:a16="http://schemas.microsoft.com/office/drawing/2014/main" id="{EE8F8FA5-9932-9675-CFB3-0D44343E8BFF}"/>
                </a:ext>
              </a:extLst>
            </p:cNvPr>
            <p:cNvSpPr txBox="1"/>
            <p:nvPr/>
          </p:nvSpPr>
          <p:spPr>
            <a:xfrm>
              <a:off x="7098574" y="5319903"/>
              <a:ext cx="4913444" cy="246221"/>
            </a:xfrm>
            <a:prstGeom prst="rect">
              <a:avLst/>
            </a:prstGeom>
            <a:noFill/>
          </p:spPr>
          <p:txBody>
            <a:bodyPr wrap="square" lIns="0" tIns="0" rIns="0" bIns="0" rtlCol="0">
              <a:spAutoFit/>
            </a:bodyPr>
            <a:lstStyle/>
            <a:p>
              <a:r>
                <a:rPr lang="en-US" sz="1600" i="1" dirty="0">
                  <a:solidFill>
                    <a:srgbClr val="004A96"/>
                  </a:solidFill>
                  <a:latin typeface="Arial"/>
                  <a:ea typeface="+mj-ea"/>
                  <a:cs typeface="+mj-cs"/>
                </a:rPr>
                <a:t>Tool </a:t>
              </a:r>
              <a:r>
                <a:rPr lang="en-US" sz="1600" i="1" dirty="0" err="1">
                  <a:solidFill>
                    <a:srgbClr val="004A96"/>
                  </a:solidFill>
                  <a:latin typeface="Arial"/>
                  <a:ea typeface="+mj-ea"/>
                  <a:cs typeface="+mj-cs"/>
                </a:rPr>
                <a:t>zur</a:t>
              </a:r>
              <a:r>
                <a:rPr lang="en-US" sz="1600" i="1" dirty="0">
                  <a:solidFill>
                    <a:srgbClr val="004A96"/>
                  </a:solidFill>
                  <a:latin typeface="Arial"/>
                  <a:ea typeface="+mj-ea"/>
                  <a:cs typeface="+mj-cs"/>
                </a:rPr>
                <a:t> </a:t>
              </a:r>
              <a:r>
                <a:rPr lang="en-US" sz="1600" i="1" dirty="0" err="1">
                  <a:solidFill>
                    <a:srgbClr val="004A96"/>
                  </a:solidFill>
                  <a:latin typeface="Arial"/>
                  <a:ea typeface="+mj-ea"/>
                  <a:cs typeface="+mj-cs"/>
                </a:rPr>
                <a:t>Optimierung</a:t>
              </a:r>
              <a:r>
                <a:rPr lang="en-US" sz="1600" i="1" dirty="0">
                  <a:solidFill>
                    <a:srgbClr val="004A96"/>
                  </a:solidFill>
                  <a:latin typeface="Arial"/>
                  <a:ea typeface="+mj-ea"/>
                  <a:cs typeface="+mj-cs"/>
                </a:rPr>
                <a:t> von </a:t>
              </a:r>
              <a:r>
                <a:rPr lang="en-US" sz="1600" i="1" dirty="0" err="1">
                  <a:solidFill>
                    <a:srgbClr val="004A96"/>
                  </a:solidFill>
                  <a:latin typeface="Arial"/>
                  <a:ea typeface="+mj-ea"/>
                  <a:cs typeface="+mj-cs"/>
                </a:rPr>
                <a:t>Produkten</a:t>
              </a:r>
              <a:r>
                <a:rPr lang="en-US" sz="1600" i="1" dirty="0">
                  <a:solidFill>
                    <a:srgbClr val="004A96"/>
                  </a:solidFill>
                  <a:latin typeface="Arial"/>
                  <a:ea typeface="+mj-ea"/>
                  <a:cs typeface="+mj-cs"/>
                </a:rPr>
                <a:t> und </a:t>
              </a:r>
              <a:r>
                <a:rPr lang="en-US" sz="1600" i="1" dirty="0" err="1">
                  <a:solidFill>
                    <a:srgbClr val="004A96"/>
                  </a:solidFill>
                  <a:latin typeface="Arial"/>
                  <a:ea typeface="+mj-ea"/>
                  <a:cs typeface="+mj-cs"/>
                </a:rPr>
                <a:t>Applikation</a:t>
              </a:r>
              <a:endParaRPr lang="en-US" sz="1600" i="1" dirty="0">
                <a:solidFill>
                  <a:srgbClr val="004A96"/>
                </a:solidFill>
                <a:latin typeface="Arial"/>
                <a:ea typeface="+mj-ea"/>
                <a:cs typeface="+mj-cs"/>
              </a:endParaRPr>
            </a:p>
          </p:txBody>
        </p:sp>
      </p:grpSp>
      <p:pic>
        <p:nvPicPr>
          <p:cNvPr id="55" name="Google Shape;1516;g291664d05b2_0_12">
            <a:extLst>
              <a:ext uri="{FF2B5EF4-FFF2-40B4-BE49-F238E27FC236}">
                <a16:creationId xmlns:a16="http://schemas.microsoft.com/office/drawing/2014/main" id="{67A3B75E-A4B3-380A-D786-A81BECB4F358}"/>
              </a:ext>
            </a:extLst>
          </p:cNvPr>
          <p:cNvPicPr>
            <a:picLocks noChangeAspect="1"/>
          </p:cNvPicPr>
          <p:nvPr/>
        </p:nvPicPr>
        <p:blipFill>
          <a:blip r:embed="rId15">
            <a:alphaModFix amt="35000"/>
          </a:blip>
          <a:stretch>
            <a:fillRect/>
          </a:stretch>
        </p:blipFill>
        <p:spPr>
          <a:xfrm>
            <a:off x="-702414" y="5084220"/>
            <a:ext cx="2417632" cy="2292501"/>
          </a:xfrm>
          <a:prstGeom prst="rect">
            <a:avLst/>
          </a:prstGeom>
          <a:noFill/>
          <a:ln>
            <a:noFill/>
          </a:ln>
        </p:spPr>
      </p:pic>
      <p:sp>
        <p:nvSpPr>
          <p:cNvPr id="56" name="Textfeld 55">
            <a:extLst>
              <a:ext uri="{FF2B5EF4-FFF2-40B4-BE49-F238E27FC236}">
                <a16:creationId xmlns:a16="http://schemas.microsoft.com/office/drawing/2014/main" id="{19D229D0-7556-6FED-C500-72EF97E142FF}"/>
              </a:ext>
            </a:extLst>
          </p:cNvPr>
          <p:cNvSpPr txBox="1"/>
          <p:nvPr/>
        </p:nvSpPr>
        <p:spPr>
          <a:xfrm>
            <a:off x="1567268" y="3408090"/>
            <a:ext cx="1987724" cy="246221"/>
          </a:xfrm>
          <a:prstGeom prst="rect">
            <a:avLst/>
          </a:prstGeom>
          <a:noFill/>
        </p:spPr>
        <p:txBody>
          <a:bodyPr wrap="none" lIns="0" tIns="0" rIns="0" bIns="0" rtlCol="0">
            <a:spAutoFit/>
          </a:bodyPr>
          <a:lstStyle/>
          <a:p>
            <a:r>
              <a:rPr lang="de-DE" sz="1600" i="1" dirty="0">
                <a:solidFill>
                  <a:schemeClr val="accent1"/>
                </a:solidFill>
              </a:rPr>
              <a:t>~ 6.000-8.000 kg CO</a:t>
            </a:r>
            <a:r>
              <a:rPr lang="de-DE" sz="1600" i="1" baseline="-25000" dirty="0">
                <a:solidFill>
                  <a:schemeClr val="accent1"/>
                </a:solidFill>
              </a:rPr>
              <a:t>2</a:t>
            </a:r>
          </a:p>
        </p:txBody>
      </p:sp>
      <p:sp>
        <p:nvSpPr>
          <p:cNvPr id="57" name="Textfeld 56">
            <a:extLst>
              <a:ext uri="{FF2B5EF4-FFF2-40B4-BE49-F238E27FC236}">
                <a16:creationId xmlns:a16="http://schemas.microsoft.com/office/drawing/2014/main" id="{DD95D7B6-D3DE-5103-C38D-5F8D9DD435E0}"/>
              </a:ext>
            </a:extLst>
          </p:cNvPr>
          <p:cNvSpPr txBox="1"/>
          <p:nvPr/>
        </p:nvSpPr>
        <p:spPr>
          <a:xfrm>
            <a:off x="4208440" y="3423965"/>
            <a:ext cx="1644681" cy="246221"/>
          </a:xfrm>
          <a:prstGeom prst="rect">
            <a:avLst/>
          </a:prstGeom>
          <a:noFill/>
        </p:spPr>
        <p:txBody>
          <a:bodyPr wrap="none" lIns="0" tIns="0" rIns="0" bIns="0" rtlCol="0">
            <a:spAutoFit/>
          </a:bodyPr>
          <a:lstStyle/>
          <a:p>
            <a:r>
              <a:rPr lang="de-DE" sz="1600" i="1" dirty="0">
                <a:solidFill>
                  <a:schemeClr val="accent1"/>
                </a:solidFill>
              </a:rPr>
              <a:t>~ 500-700 kg CO</a:t>
            </a:r>
            <a:r>
              <a:rPr lang="de-DE" sz="1600" i="1" baseline="-25000" dirty="0">
                <a:solidFill>
                  <a:schemeClr val="accent1"/>
                </a:solidFill>
              </a:rPr>
              <a:t>2</a:t>
            </a:r>
          </a:p>
        </p:txBody>
      </p:sp>
      <p:pic>
        <p:nvPicPr>
          <p:cNvPr id="86" name="Grafik 85">
            <a:extLst>
              <a:ext uri="{FF2B5EF4-FFF2-40B4-BE49-F238E27FC236}">
                <a16:creationId xmlns:a16="http://schemas.microsoft.com/office/drawing/2014/main" id="{640B901A-5D9F-6CCC-C317-14F529D0709C}"/>
              </a:ext>
            </a:extLst>
          </p:cNvPr>
          <p:cNvPicPr>
            <a:picLocks noChangeAspect="1"/>
          </p:cNvPicPr>
          <p:nvPr/>
        </p:nvPicPr>
        <p:blipFill>
          <a:blip r:embed="rId16"/>
          <a:stretch>
            <a:fillRect/>
          </a:stretch>
        </p:blipFill>
        <p:spPr>
          <a:xfrm>
            <a:off x="4842455" y="4095588"/>
            <a:ext cx="1244701" cy="766664"/>
          </a:xfrm>
          <a:prstGeom prst="rect">
            <a:avLst/>
          </a:prstGeom>
        </p:spPr>
      </p:pic>
      <p:pic>
        <p:nvPicPr>
          <p:cNvPr id="87" name="Grafik 86">
            <a:extLst>
              <a:ext uri="{FF2B5EF4-FFF2-40B4-BE49-F238E27FC236}">
                <a16:creationId xmlns:a16="http://schemas.microsoft.com/office/drawing/2014/main" id="{28BADB26-80BC-790B-2D0C-7FBB26B40CDF}"/>
              </a:ext>
            </a:extLst>
          </p:cNvPr>
          <p:cNvPicPr>
            <a:picLocks noChangeAspect="1"/>
          </p:cNvPicPr>
          <p:nvPr/>
        </p:nvPicPr>
        <p:blipFill>
          <a:blip r:embed="rId17"/>
          <a:stretch>
            <a:fillRect/>
          </a:stretch>
        </p:blipFill>
        <p:spPr>
          <a:xfrm>
            <a:off x="3791134" y="4095588"/>
            <a:ext cx="904460" cy="823058"/>
          </a:xfrm>
          <a:prstGeom prst="rect">
            <a:avLst/>
          </a:prstGeom>
        </p:spPr>
      </p:pic>
      <p:sp>
        <p:nvSpPr>
          <p:cNvPr id="88" name="Foliennummernplatzhalter 87">
            <a:extLst>
              <a:ext uri="{FF2B5EF4-FFF2-40B4-BE49-F238E27FC236}">
                <a16:creationId xmlns:a16="http://schemas.microsoft.com/office/drawing/2014/main" id="{2C23EEF6-DBED-3757-7939-1A1E6E6F4D6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17</a:t>
            </a:fld>
            <a:endParaRPr lang="de-DE">
              <a:solidFill>
                <a:srgbClr val="000000"/>
              </a:solidFill>
            </a:endParaRPr>
          </a:p>
        </p:txBody>
      </p:sp>
    </p:spTree>
    <p:custDataLst>
      <p:tags r:id="rId1"/>
    </p:custDataLst>
    <p:extLst>
      <p:ext uri="{BB962C8B-B14F-4D97-AF65-F5344CB8AC3E}">
        <p14:creationId xmlns:p14="http://schemas.microsoft.com/office/powerpoint/2010/main" val="3825839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1000"/>
                                        <p:tgtEl>
                                          <p:spTgt spid="53"/>
                                        </p:tgtEl>
                                      </p:cBhvr>
                                    </p:animEffect>
                                    <p:anim calcmode="lin" valueType="num">
                                      <p:cBhvr>
                                        <p:cTn id="12" dur="1000" fill="hold"/>
                                        <p:tgtEl>
                                          <p:spTgt spid="53"/>
                                        </p:tgtEl>
                                        <p:attrNameLst>
                                          <p:attrName>ppt_x</p:attrName>
                                        </p:attrNameLst>
                                      </p:cBhvr>
                                      <p:tavLst>
                                        <p:tav tm="0">
                                          <p:val>
                                            <p:strVal val="#ppt_x"/>
                                          </p:val>
                                        </p:tav>
                                        <p:tav tm="100000">
                                          <p:val>
                                            <p:strVal val="#ppt_x"/>
                                          </p:val>
                                        </p:tav>
                                      </p:tavLst>
                                    </p:anim>
                                    <p:anim calcmode="lin" valueType="num">
                                      <p:cBhvr>
                                        <p:cTn id="13"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86">
          <a:extLst>
            <a:ext uri="{FF2B5EF4-FFF2-40B4-BE49-F238E27FC236}">
              <a16:creationId xmlns:a16="http://schemas.microsoft.com/office/drawing/2014/main" id="{4D872C6A-0A73-1DFC-C7DE-1765A55B9B1E}"/>
            </a:ext>
          </a:extLst>
        </p:cNvPr>
        <p:cNvGrpSpPr/>
        <p:nvPr/>
      </p:nvGrpSpPr>
      <p:grpSpPr>
        <a:xfrm>
          <a:off x="0" y="0"/>
          <a:ext cx="0" cy="0"/>
          <a:chOff x="0" y="0"/>
          <a:chExt cx="0" cy="0"/>
        </a:xfrm>
      </p:grpSpPr>
      <p:pic>
        <p:nvPicPr>
          <p:cNvPr id="2" name="Google Shape;1582;g28c66a67f99_0_2618">
            <a:extLst>
              <a:ext uri="{FF2B5EF4-FFF2-40B4-BE49-F238E27FC236}">
                <a16:creationId xmlns:a16="http://schemas.microsoft.com/office/drawing/2014/main" id="{3E3B1D78-E82C-1F3C-D4E5-A1DB3C3D7CAA}"/>
              </a:ext>
            </a:extLst>
          </p:cNvPr>
          <p:cNvPicPr preferRelativeResize="0">
            <a:picLocks noChangeAspect="1"/>
          </p:cNvPicPr>
          <p:nvPr/>
        </p:nvPicPr>
        <p:blipFill rotWithShape="1">
          <a:blip r:embed="rId5">
            <a:alphaModFix/>
          </a:blip>
          <a:srcRect t="-14484" b="-14613"/>
          <a:stretch/>
        </p:blipFill>
        <p:spPr>
          <a:xfrm>
            <a:off x="1114723" y="1048732"/>
            <a:ext cx="3202914" cy="4760535"/>
          </a:xfrm>
          <a:prstGeom prst="rect">
            <a:avLst/>
          </a:prstGeom>
          <a:noFill/>
          <a:ln>
            <a:noFill/>
          </a:ln>
        </p:spPr>
      </p:pic>
      <p:sp>
        <p:nvSpPr>
          <p:cNvPr id="4" name="Titel 3">
            <a:extLst>
              <a:ext uri="{FF2B5EF4-FFF2-40B4-BE49-F238E27FC236}">
                <a16:creationId xmlns:a16="http://schemas.microsoft.com/office/drawing/2014/main" id="{C17E16C5-FF25-6353-BAA6-73B20E2DD9D9}"/>
              </a:ext>
            </a:extLst>
          </p:cNvPr>
          <p:cNvSpPr>
            <a:spLocks noGrp="1"/>
          </p:cNvSpPr>
          <p:nvPr>
            <p:ph type="title"/>
          </p:nvPr>
        </p:nvSpPr>
        <p:spPr/>
        <p:txBody>
          <a:bodyPr/>
          <a:lstStyle/>
          <a:p>
            <a:r>
              <a:rPr lang="de-DE" dirty="0"/>
              <a:t>CO₂-Berechnung to </a:t>
            </a:r>
            <a:r>
              <a:rPr lang="de-DE" dirty="0" err="1"/>
              <a:t>go</a:t>
            </a:r>
            <a:endParaRPr lang="de-DE" dirty="0"/>
          </a:p>
        </p:txBody>
      </p:sp>
      <p:sp>
        <p:nvSpPr>
          <p:cNvPr id="5" name="Rechteck 4">
            <a:extLst>
              <a:ext uri="{FF2B5EF4-FFF2-40B4-BE49-F238E27FC236}">
                <a16:creationId xmlns:a16="http://schemas.microsoft.com/office/drawing/2014/main" id="{766C8940-B987-23CD-94D1-5BA247A39AB2}"/>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2">
            <a:extLst>
              <a:ext uri="{FF2B5EF4-FFF2-40B4-BE49-F238E27FC236}">
                <a16:creationId xmlns:a16="http://schemas.microsoft.com/office/drawing/2014/main" id="{A60B4134-11DC-30CC-31FA-57D7BFBB962F}"/>
              </a:ext>
            </a:extLst>
          </p:cNvPr>
          <p:cNvSpPr txBox="1">
            <a:spLocks/>
          </p:cNvSpPr>
          <p:nvPr/>
        </p:nvSpPr>
        <p:spPr>
          <a:xfrm>
            <a:off x="7136549" y="4022991"/>
            <a:ext cx="5149850" cy="2122458"/>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266700" lvl="0" indent="-266700">
              <a:buClr>
                <a:srgbClr val="07A4B9"/>
              </a:buClr>
            </a:pPr>
            <a:r>
              <a:rPr lang="en-US" sz="1800" b="1" dirty="0"/>
              <a:t>Neue Coatings-Systeme</a:t>
            </a:r>
          </a:p>
          <a:p>
            <a:pPr marL="266700" lvl="0" indent="-266700">
              <a:buClr>
                <a:srgbClr val="07A4B9"/>
              </a:buClr>
            </a:pPr>
            <a:r>
              <a:rPr lang="en-US" sz="1400" dirty="0" err="1"/>
              <a:t>Entwicklung</a:t>
            </a:r>
            <a:r>
              <a:rPr lang="en-US" sz="1400" dirty="0"/>
              <a:t> mit </a:t>
            </a:r>
            <a:r>
              <a:rPr lang="en-US" sz="1400" dirty="0" err="1"/>
              <a:t>Computermodellen</a:t>
            </a:r>
            <a:r>
              <a:rPr lang="en-US" sz="1400" dirty="0"/>
              <a:t> und Prototyping</a:t>
            </a:r>
          </a:p>
          <a:p>
            <a:pPr marL="266700" lvl="0" indent="-266700">
              <a:buClr>
                <a:srgbClr val="07A4B9"/>
              </a:buClr>
            </a:pPr>
            <a:r>
              <a:rPr lang="en-US" sz="1400" dirty="0" err="1"/>
              <a:t>Verbesserung</a:t>
            </a:r>
            <a:r>
              <a:rPr lang="en-US" sz="1400" dirty="0"/>
              <a:t> von </a:t>
            </a:r>
            <a:r>
              <a:rPr lang="en-US" sz="1400" dirty="0" err="1"/>
              <a:t>Ladezeiten</a:t>
            </a:r>
            <a:r>
              <a:rPr lang="en-US" sz="1400" dirty="0"/>
              <a:t> &amp; -</a:t>
            </a:r>
            <a:r>
              <a:rPr lang="en-US" sz="1400" dirty="0" err="1"/>
              <a:t>zyklen</a:t>
            </a:r>
            <a:endParaRPr lang="en-US" sz="1400" dirty="0"/>
          </a:p>
          <a:p>
            <a:pPr marL="266700" indent="-266700">
              <a:buClr>
                <a:srgbClr val="07A4B9"/>
              </a:buClr>
            </a:pPr>
            <a:r>
              <a:rPr lang="en-US" sz="1400" dirty="0" err="1"/>
              <a:t>Leichtere</a:t>
            </a:r>
            <a:r>
              <a:rPr lang="en-US" sz="1400" dirty="0"/>
              <a:t> </a:t>
            </a:r>
            <a:r>
              <a:rPr lang="en-US" sz="1400" dirty="0" err="1"/>
              <a:t>Rezyklierbarkeit</a:t>
            </a:r>
            <a:r>
              <a:rPr lang="en-US" sz="1400" dirty="0"/>
              <a:t> der </a:t>
            </a:r>
            <a:r>
              <a:rPr lang="en-US" sz="1400" dirty="0" err="1"/>
              <a:t>Batterien</a:t>
            </a:r>
            <a:endParaRPr lang="en-US" sz="1400" dirty="0"/>
          </a:p>
          <a:p>
            <a:pPr marL="266700" indent="-266700">
              <a:buClr>
                <a:srgbClr val="07A4B9"/>
              </a:buClr>
            </a:pPr>
            <a:r>
              <a:rPr lang="en-US" sz="1400" dirty="0"/>
              <a:t>Auch </a:t>
            </a:r>
            <a:r>
              <a:rPr lang="en-US" sz="1400" dirty="0" err="1"/>
              <a:t>Anwendungen</a:t>
            </a:r>
            <a:r>
              <a:rPr lang="en-US" sz="1400" dirty="0"/>
              <a:t> in der </a:t>
            </a:r>
            <a:r>
              <a:rPr lang="en-US" sz="1400" dirty="0" err="1"/>
              <a:t>Ladeperipherie</a:t>
            </a:r>
            <a:endParaRPr lang="en-US" sz="1400" dirty="0"/>
          </a:p>
        </p:txBody>
      </p:sp>
      <p:pic>
        <p:nvPicPr>
          <p:cNvPr id="7" name="Grafik 34" descr="Ein Bild, das Bild, Kunst enthält.&#10;&#10;Automatisch generierte Beschreibung">
            <a:extLst>
              <a:ext uri="{FF2B5EF4-FFF2-40B4-BE49-F238E27FC236}">
                <a16:creationId xmlns:a16="http://schemas.microsoft.com/office/drawing/2014/main" id="{40CEA210-0746-FA23-6725-85E424580654}"/>
              </a:ext>
            </a:extLst>
          </p:cNvPr>
          <p:cNvPicPr>
            <a:picLocks noChangeAspect="1"/>
          </p:cNvPicPr>
          <p:nvPr/>
        </p:nvPicPr>
        <p:blipFill rotWithShape="1">
          <a:blip r:embed="rId6">
            <a:extLst>
              <a:ext uri="{28A0092B-C50C-407E-A947-70E740481C1C}">
                <a14:useLocalDpi xmlns:a14="http://schemas.microsoft.com/office/drawing/2010/main" val="0"/>
              </a:ext>
            </a:extLst>
          </a:blip>
          <a:srcRect l="-1346" t="29040" r="1248" b="6115"/>
          <a:stretch/>
        </p:blipFill>
        <p:spPr>
          <a:xfrm>
            <a:off x="6874869" y="1097215"/>
            <a:ext cx="2097796" cy="1828562"/>
          </a:xfrm>
          <a:prstGeom prst="rect">
            <a:avLst/>
          </a:prstGeom>
        </p:spPr>
      </p:pic>
      <p:pic>
        <p:nvPicPr>
          <p:cNvPr id="8" name="Grafik 7">
            <a:extLst>
              <a:ext uri="{FF2B5EF4-FFF2-40B4-BE49-F238E27FC236}">
                <a16:creationId xmlns:a16="http://schemas.microsoft.com/office/drawing/2014/main" id="{F6D564F4-7562-74FF-82A8-193FDA586AF8}"/>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66000"/>
                    </a14:imgEffect>
                  </a14:imgLayer>
                </a14:imgProps>
              </a:ext>
            </a:extLst>
          </a:blip>
          <a:stretch>
            <a:fillRect/>
          </a:stretch>
        </p:blipFill>
        <p:spPr>
          <a:xfrm>
            <a:off x="8972665" y="1118961"/>
            <a:ext cx="2623153" cy="1923366"/>
          </a:xfrm>
          <a:prstGeom prst="rect">
            <a:avLst/>
          </a:prstGeom>
        </p:spPr>
      </p:pic>
      <p:pic>
        <p:nvPicPr>
          <p:cNvPr id="3" name="04_Paintshop_001_1080p_transparent">
            <a:hlinkClick r:id="" action="ppaction://media"/>
            <a:extLst>
              <a:ext uri="{FF2B5EF4-FFF2-40B4-BE49-F238E27FC236}">
                <a16:creationId xmlns:a16="http://schemas.microsoft.com/office/drawing/2014/main" id="{0890D854-BEF2-6644-ECD2-5CAF06E56851}"/>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11855" y="-1"/>
            <a:ext cx="12203855" cy="6864667"/>
          </a:xfrm>
          <a:prstGeom prst="rect">
            <a:avLst/>
          </a:prstGeom>
        </p:spPr>
      </p:pic>
      <p:pic>
        <p:nvPicPr>
          <p:cNvPr id="9" name="Google Shape;1516;g291664d05b2_0_12">
            <a:extLst>
              <a:ext uri="{FF2B5EF4-FFF2-40B4-BE49-F238E27FC236}">
                <a16:creationId xmlns:a16="http://schemas.microsoft.com/office/drawing/2014/main" id="{DF80C89B-D3D2-6411-0C03-D86232107C79}"/>
              </a:ext>
            </a:extLst>
          </p:cNvPr>
          <p:cNvPicPr>
            <a:picLocks noChangeAspect="1"/>
          </p:cNvPicPr>
          <p:nvPr/>
        </p:nvPicPr>
        <p:blipFill>
          <a:blip r:embed="rId10">
            <a:alphaModFix amt="35000"/>
          </a:blip>
          <a:stretch>
            <a:fillRect/>
          </a:stretch>
        </p:blipFill>
        <p:spPr>
          <a:xfrm>
            <a:off x="-702414" y="5084220"/>
            <a:ext cx="2417632" cy="2292501"/>
          </a:xfrm>
          <a:prstGeom prst="rect">
            <a:avLst/>
          </a:prstGeom>
          <a:noFill/>
          <a:ln>
            <a:noFill/>
          </a:ln>
        </p:spPr>
      </p:pic>
      <p:pic>
        <p:nvPicPr>
          <p:cNvPr id="10" name="Grafik 9" descr="Ein Bild, das Text, Screenshot, Schrift, Electric Blue (Farbe) enthält.&#10;&#10;Automatisch generierte Beschreibung">
            <a:extLst>
              <a:ext uri="{FF2B5EF4-FFF2-40B4-BE49-F238E27FC236}">
                <a16:creationId xmlns:a16="http://schemas.microsoft.com/office/drawing/2014/main" id="{A6C2601B-1400-B2AC-156C-1B24ACC6762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600001" y="5769591"/>
            <a:ext cx="2592000" cy="862984"/>
          </a:xfrm>
          <a:prstGeom prst="rect">
            <a:avLst/>
          </a:prstGeom>
        </p:spPr>
      </p:pic>
      <p:sp>
        <p:nvSpPr>
          <p:cNvPr id="11" name="Foliennummernplatzhalter 10">
            <a:extLst>
              <a:ext uri="{FF2B5EF4-FFF2-40B4-BE49-F238E27FC236}">
                <a16:creationId xmlns:a16="http://schemas.microsoft.com/office/drawing/2014/main" id="{32E10823-6093-BB9B-B427-31E5731D9ED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8</a:t>
            </a:fld>
            <a:endParaRPr lang="de-DE"/>
          </a:p>
        </p:txBody>
      </p:sp>
    </p:spTree>
    <p:extLst>
      <p:ext uri="{BB962C8B-B14F-4D97-AF65-F5344CB8AC3E}">
        <p14:creationId xmlns:p14="http://schemas.microsoft.com/office/powerpoint/2010/main" val="1651802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32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53"/>
        <p:cNvGrpSpPr/>
        <p:nvPr/>
      </p:nvGrpSpPr>
      <p:grpSpPr>
        <a:xfrm>
          <a:off x="0" y="0"/>
          <a:ext cx="0" cy="0"/>
          <a:chOff x="0" y="0"/>
          <a:chExt cx="0" cy="0"/>
        </a:xfrm>
      </p:grpSpPr>
      <p:sp>
        <p:nvSpPr>
          <p:cNvPr id="1656" name="Google Shape;1656;g2a7f0bc11f4_0_9"/>
          <p:cNvSpPr txBox="1">
            <a:spLocks noGrp="1"/>
          </p:cNvSpPr>
          <p:nvPr>
            <p:ph type="title"/>
          </p:nvPr>
        </p:nvSpPr>
        <p:spPr>
          <a:xfrm>
            <a:off x="4932375" y="2377627"/>
            <a:ext cx="5865600" cy="457200"/>
          </a:xfrm>
          <a:prstGeom prst="rect">
            <a:avLst/>
          </a:prstGeom>
          <a:noFill/>
          <a:ln>
            <a:noFill/>
          </a:ln>
        </p:spPr>
        <p:txBody>
          <a:bodyPr spcFirstLastPara="1" wrap="square" lIns="0" tIns="0" rIns="0" bIns="0" anchor="t" anchorCtr="0">
            <a:noAutofit/>
          </a:bodyPr>
          <a:lstStyle/>
          <a:p>
            <a:pPr lvl="0">
              <a:spcBef>
                <a:spcPts val="0"/>
              </a:spcBef>
              <a:buSzPts val="2800"/>
            </a:pPr>
            <a:r>
              <a:rPr lang="de-DE" dirty="0"/>
              <a:t>Energie-Organismus</a:t>
            </a:r>
            <a:endParaRPr dirty="0"/>
          </a:p>
        </p:txBody>
      </p:sp>
      <p:sp>
        <p:nvSpPr>
          <p:cNvPr id="1657" name="Google Shape;1657;g2a7f0bc11f4_0_9"/>
          <p:cNvSpPr txBox="1"/>
          <p:nvPr/>
        </p:nvSpPr>
        <p:spPr>
          <a:xfrm>
            <a:off x="4856175" y="3120863"/>
            <a:ext cx="5793000" cy="1458831"/>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rPr>
              <a:t>Aufbau intelligenter Energiesysteme, </a:t>
            </a:r>
            <a:br>
              <a:rPr lang="de-DE" i="1" dirty="0">
                <a:solidFill>
                  <a:schemeClr val="dk1"/>
                </a:solidFill>
              </a:rPr>
            </a:br>
            <a:r>
              <a:rPr lang="de-DE" i="1" dirty="0">
                <a:solidFill>
                  <a:schemeClr val="dk1"/>
                </a:solidFill>
              </a:rPr>
              <a:t>die auf nachhaltigen Quellen basieren, </a:t>
            </a:r>
            <a:br>
              <a:rPr lang="de-DE" i="1" dirty="0">
                <a:solidFill>
                  <a:schemeClr val="dk1"/>
                </a:solidFill>
              </a:rPr>
            </a:br>
            <a:r>
              <a:rPr lang="de-DE" i="1" dirty="0">
                <a:solidFill>
                  <a:schemeClr val="dk1"/>
                </a:solidFill>
              </a:rPr>
              <a:t>und gleichzeitiges Streben nach </a:t>
            </a:r>
            <a:br>
              <a:rPr lang="de-DE" i="1" dirty="0">
                <a:solidFill>
                  <a:schemeClr val="dk1"/>
                </a:solidFill>
              </a:rPr>
            </a:br>
            <a:r>
              <a:rPr lang="de-DE" i="1" dirty="0">
                <a:solidFill>
                  <a:schemeClr val="dk1"/>
                </a:solidFill>
              </a:rPr>
              <a:t>weiterer Minimierung des Energieverbrauchs.</a:t>
            </a:r>
            <a:endParaRPr sz="1800" b="1" dirty="0">
              <a:solidFill>
                <a:schemeClr val="dk1"/>
              </a:solidFill>
              <a:latin typeface="Roboto"/>
              <a:ea typeface="Roboto"/>
              <a:cs typeface="Roboto"/>
              <a:sym typeface="Roboto"/>
            </a:endParaRPr>
          </a:p>
        </p:txBody>
      </p:sp>
      <p:pic>
        <p:nvPicPr>
          <p:cNvPr id="1658" name="Google Shape;1658;g2a7f0bc11f4_0_9"/>
          <p:cNvPicPr preferRelativeResize="0">
            <a:picLocks noChangeAspect="1"/>
          </p:cNvPicPr>
          <p:nvPr/>
        </p:nvPicPr>
        <p:blipFill rotWithShape="1">
          <a:blip r:embed="rId3">
            <a:alphaModFix/>
          </a:blip>
          <a:srcRect l="573" r="583"/>
          <a:stretch/>
        </p:blipFill>
        <p:spPr>
          <a:xfrm>
            <a:off x="2286915" y="529471"/>
            <a:ext cx="2087122" cy="5508263"/>
          </a:xfrm>
          <a:prstGeom prst="rect">
            <a:avLst/>
          </a:prstGeom>
          <a:noFill/>
          <a:ln>
            <a:noFill/>
          </a:ln>
        </p:spPr>
      </p:pic>
      <p:pic>
        <p:nvPicPr>
          <p:cNvPr id="2" name="Google Shape;1516;g291664d05b2_0_12">
            <a:extLst>
              <a:ext uri="{FF2B5EF4-FFF2-40B4-BE49-F238E27FC236}">
                <a16:creationId xmlns:a16="http://schemas.microsoft.com/office/drawing/2014/main" id="{17BCCCCB-5900-E14D-9121-B66291817093}"/>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8C3C831D-A426-FF44-A9EB-59BE8641DEB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19</a:t>
            </a:fld>
            <a:endParaRPr lang="de-DE"/>
          </a:p>
        </p:txBody>
      </p:sp>
    </p:spTree>
    <p:extLst>
      <p:ext uri="{BB962C8B-B14F-4D97-AF65-F5344CB8AC3E}">
        <p14:creationId xmlns:p14="http://schemas.microsoft.com/office/powerpoint/2010/main" val="3503440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1" descr="Ein Bild, das Himmel, draußen, Wasser, See enthält.&#10;&#10;Automatisch generierte Beschreibung">
            <a:extLst>
              <a:ext uri="{FF2B5EF4-FFF2-40B4-BE49-F238E27FC236}">
                <a16:creationId xmlns:a16="http://schemas.microsoft.com/office/drawing/2014/main" id="{FDF9D2F6-DA96-7F2C-6A63-29E435D083D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0"/>
            <a:ext cx="12192000" cy="6858000"/>
          </a:xfrm>
          <a:custGeom>
            <a:avLst/>
            <a:gdLst>
              <a:gd name="connsiteX0" fmla="*/ 2476750 w 12192000"/>
              <a:gd name="connsiteY0" fmla="*/ 2448000 h 6858000"/>
              <a:gd name="connsiteX1" fmla="*/ 2476750 w 12192000"/>
              <a:gd name="connsiteY1" fmla="*/ 3312000 h 6858000"/>
              <a:gd name="connsiteX2" fmla="*/ 2501950 w 12192000"/>
              <a:gd name="connsiteY2" fmla="*/ 3312000 h 6858000"/>
              <a:gd name="connsiteX3" fmla="*/ 2501950 w 12192000"/>
              <a:gd name="connsiteY3" fmla="*/ 24480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76750" y="2448000"/>
                </a:moveTo>
                <a:lnTo>
                  <a:pt x="2476750" y="3312000"/>
                </a:lnTo>
                <a:lnTo>
                  <a:pt x="2501950" y="3312000"/>
                </a:lnTo>
                <a:lnTo>
                  <a:pt x="2501950" y="2448000"/>
                </a:lnTo>
                <a:close/>
                <a:moveTo>
                  <a:pt x="0" y="0"/>
                </a:moveTo>
                <a:lnTo>
                  <a:pt x="12192000" y="0"/>
                </a:lnTo>
                <a:lnTo>
                  <a:pt x="12192000" y="6858000"/>
                </a:lnTo>
                <a:lnTo>
                  <a:pt x="0" y="6858000"/>
                </a:lnTo>
                <a:close/>
              </a:path>
            </a:pathLst>
          </a:custGeom>
          <a:solidFill>
            <a:schemeClr val="accent3"/>
          </a:solidFill>
        </p:spPr>
      </p:pic>
      <p:sp>
        <p:nvSpPr>
          <p:cNvPr id="5" name="Foliennummernplatzhalter 4">
            <a:extLst>
              <a:ext uri="{FF2B5EF4-FFF2-40B4-BE49-F238E27FC236}">
                <a16:creationId xmlns:a16="http://schemas.microsoft.com/office/drawing/2014/main" id="{559E77AD-DCE7-9254-ECDC-66EDBADBA6B8}"/>
              </a:ext>
            </a:extLst>
          </p:cNvPr>
          <p:cNvSpPr>
            <a:spLocks noGrp="1"/>
          </p:cNvSpPr>
          <p:nvPr>
            <p:ph type="sldNum" sz="quarter" idx="12"/>
          </p:nvPr>
        </p:nvSpPr>
        <p:spPr/>
        <p:txBody>
          <a:bodyPr/>
          <a:lstStyle/>
          <a:p>
            <a:pPr>
              <a:defRPr/>
            </a:pPr>
            <a:fld id="{D7C0CCF7-DF53-4ADB-AAD8-9742C01AD446}" type="slidenum">
              <a:rPr lang="en-US" smtClean="0"/>
              <a:pPr>
                <a:defRPr/>
              </a:pPr>
              <a:t>2</a:t>
            </a:fld>
            <a:endParaRPr lang="en-US" dirty="0"/>
          </a:p>
        </p:txBody>
      </p:sp>
      <p:sp>
        <p:nvSpPr>
          <p:cNvPr id="6" name="Titel 5">
            <a:extLst>
              <a:ext uri="{FF2B5EF4-FFF2-40B4-BE49-F238E27FC236}">
                <a16:creationId xmlns:a16="http://schemas.microsoft.com/office/drawing/2014/main" id="{DA2AD16D-8E36-1943-9544-3CD47D1BE2E7}"/>
              </a:ext>
            </a:extLst>
          </p:cNvPr>
          <p:cNvSpPr>
            <a:spLocks noGrp="1"/>
          </p:cNvSpPr>
          <p:nvPr>
            <p:ph type="title"/>
          </p:nvPr>
        </p:nvSpPr>
        <p:spPr/>
        <p:txBody>
          <a:bodyPr/>
          <a:lstStyle/>
          <a:p>
            <a:r>
              <a:rPr lang="en-US" dirty="0"/>
              <a:t>BASF at a glance</a:t>
            </a:r>
          </a:p>
        </p:txBody>
      </p:sp>
      <p:sp>
        <p:nvSpPr>
          <p:cNvPr id="7" name="Textplatzhalter 6">
            <a:extLst>
              <a:ext uri="{FF2B5EF4-FFF2-40B4-BE49-F238E27FC236}">
                <a16:creationId xmlns:a16="http://schemas.microsoft.com/office/drawing/2014/main" id="{0F1EB40D-3814-C69D-CFFC-5AB05B2C1484}"/>
              </a:ext>
            </a:extLst>
          </p:cNvPr>
          <p:cNvSpPr>
            <a:spLocks noGrp="1"/>
          </p:cNvSpPr>
          <p:nvPr>
            <p:ph type="body" sz="quarter" idx="13"/>
          </p:nvPr>
        </p:nvSpPr>
        <p:spPr/>
        <p:txBody>
          <a:bodyPr/>
          <a:lstStyle/>
          <a:p>
            <a:r>
              <a:rPr lang="en-US" dirty="0"/>
              <a:t>01</a:t>
            </a:r>
          </a:p>
        </p:txBody>
      </p:sp>
      <p:grpSp>
        <p:nvGrpSpPr>
          <p:cNvPr id="10" name="Gruppieren 9">
            <a:extLst>
              <a:ext uri="{FF2B5EF4-FFF2-40B4-BE49-F238E27FC236}">
                <a16:creationId xmlns:a16="http://schemas.microsoft.com/office/drawing/2014/main" id="{33FB506C-276D-E1B1-C0CA-4EC82357EBDA}"/>
              </a:ext>
            </a:extLst>
          </p:cNvPr>
          <p:cNvGrpSpPr/>
          <p:nvPr/>
        </p:nvGrpSpPr>
        <p:grpSpPr>
          <a:xfrm>
            <a:off x="9601200" y="6091200"/>
            <a:ext cx="2592000" cy="540000"/>
            <a:chOff x="9597600" y="6091200"/>
            <a:chExt cx="2592000" cy="540000"/>
          </a:xfrm>
        </p:grpSpPr>
        <p:sp>
          <p:nvSpPr>
            <p:cNvPr id="11" name="Rechteck 10">
              <a:extLst>
                <a:ext uri="{FF2B5EF4-FFF2-40B4-BE49-F238E27FC236}">
                  <a16:creationId xmlns:a16="http://schemas.microsoft.com/office/drawing/2014/main" id="{D638A148-0D92-CCE9-8EA3-0B626B9463AE}"/>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cs typeface="Arial"/>
              </a:endParaRPr>
            </a:p>
          </p:txBody>
        </p:sp>
        <p:pic>
          <p:nvPicPr>
            <p:cNvPr id="12" name="Grafik 11">
              <a:extLst>
                <a:ext uri="{FF2B5EF4-FFF2-40B4-BE49-F238E27FC236}">
                  <a16:creationId xmlns:a16="http://schemas.microsoft.com/office/drawing/2014/main" id="{12316277-9F54-E05C-5331-31D981A011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30800" y="6224400"/>
              <a:ext cx="808391" cy="292882"/>
            </a:xfrm>
            <a:prstGeom prst="rect">
              <a:avLst/>
            </a:prstGeom>
          </p:spPr>
        </p:pic>
      </p:grpSp>
    </p:spTree>
    <p:extLst>
      <p:ext uri="{BB962C8B-B14F-4D97-AF65-F5344CB8AC3E}">
        <p14:creationId xmlns:p14="http://schemas.microsoft.com/office/powerpoint/2010/main" val="86866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801"/>
        <p:cNvGrpSpPr/>
        <p:nvPr/>
      </p:nvGrpSpPr>
      <p:grpSpPr>
        <a:xfrm>
          <a:off x="0" y="0"/>
          <a:ext cx="0" cy="0"/>
          <a:chOff x="0" y="0"/>
          <a:chExt cx="0" cy="0"/>
        </a:xfrm>
      </p:grpSpPr>
      <p:sp>
        <p:nvSpPr>
          <p:cNvPr id="1804" name="Google Shape;1804;g2a7f0bc11f4_0_18"/>
          <p:cNvSpPr txBox="1">
            <a:spLocks noGrp="1"/>
          </p:cNvSpPr>
          <p:nvPr>
            <p:ph type="title"/>
          </p:nvPr>
        </p:nvSpPr>
        <p:spPr>
          <a:xfrm>
            <a:off x="4932375" y="2377627"/>
            <a:ext cx="5865600" cy="4572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800"/>
              <a:buNone/>
            </a:pPr>
            <a:r>
              <a:rPr lang="de-DE" dirty="0"/>
              <a:t>Vereinfachung</a:t>
            </a:r>
            <a:endParaRPr dirty="0"/>
          </a:p>
        </p:txBody>
      </p:sp>
      <p:sp>
        <p:nvSpPr>
          <p:cNvPr id="1805" name="Google Shape;1805;g2a7f0bc11f4_0_18"/>
          <p:cNvSpPr txBox="1"/>
          <p:nvPr/>
        </p:nvSpPr>
        <p:spPr>
          <a:xfrm>
            <a:off x="4856175" y="3120863"/>
            <a:ext cx="5793000" cy="1140282"/>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rPr>
              <a:t>Vereinfachung von Produkten und Prozessen, um mit beschränktem Einsatz fossiler Ressourcen eine maximale Wirkung zu erzielen.</a:t>
            </a:r>
            <a:endParaRPr i="1" dirty="0">
              <a:solidFill>
                <a:schemeClr val="dk1"/>
              </a:solidFill>
            </a:endParaRPr>
          </a:p>
        </p:txBody>
      </p:sp>
      <p:pic>
        <p:nvPicPr>
          <p:cNvPr id="1806" name="Google Shape;1806;g2a7f0bc11f4_0_18"/>
          <p:cNvPicPr preferRelativeResize="0">
            <a:picLocks noChangeAspect="1"/>
          </p:cNvPicPr>
          <p:nvPr/>
        </p:nvPicPr>
        <p:blipFill rotWithShape="1">
          <a:blip r:embed="rId3">
            <a:alphaModFix/>
          </a:blip>
          <a:srcRect l="913" r="903"/>
          <a:stretch/>
        </p:blipFill>
        <p:spPr>
          <a:xfrm>
            <a:off x="2211497" y="609600"/>
            <a:ext cx="1974004" cy="5209727"/>
          </a:xfrm>
          <a:prstGeom prst="rect">
            <a:avLst/>
          </a:prstGeom>
          <a:noFill/>
          <a:ln>
            <a:noFill/>
          </a:ln>
        </p:spPr>
      </p:pic>
      <p:pic>
        <p:nvPicPr>
          <p:cNvPr id="2" name="Google Shape;1516;g291664d05b2_0_12">
            <a:extLst>
              <a:ext uri="{FF2B5EF4-FFF2-40B4-BE49-F238E27FC236}">
                <a16:creationId xmlns:a16="http://schemas.microsoft.com/office/drawing/2014/main" id="{5DB7BB32-730F-7112-DD0D-FE25C06FC71B}"/>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429DAF1A-3E97-B08C-0A01-39C4F075271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0</a:t>
            </a:fld>
            <a:endParaRPr lang="de-DE"/>
          </a:p>
        </p:txBody>
      </p:sp>
    </p:spTree>
    <p:extLst>
      <p:ext uri="{BB962C8B-B14F-4D97-AF65-F5344CB8AC3E}">
        <p14:creationId xmlns:p14="http://schemas.microsoft.com/office/powerpoint/2010/main" val="3527487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864"/>
        <p:cNvGrpSpPr/>
        <p:nvPr/>
      </p:nvGrpSpPr>
      <p:grpSpPr>
        <a:xfrm>
          <a:off x="0" y="0"/>
          <a:ext cx="0" cy="0"/>
          <a:chOff x="0" y="0"/>
          <a:chExt cx="0" cy="0"/>
        </a:xfrm>
      </p:grpSpPr>
      <p:sp>
        <p:nvSpPr>
          <p:cNvPr id="1867" name="Google Shape;1867;g2a57c4556f4_3_173"/>
          <p:cNvSpPr txBox="1"/>
          <p:nvPr/>
        </p:nvSpPr>
        <p:spPr>
          <a:xfrm>
            <a:off x="5358875" y="1238423"/>
            <a:ext cx="6325800" cy="4120452"/>
          </a:xfrm>
          <a:prstGeom prst="rect">
            <a:avLst/>
          </a:prstGeom>
          <a:noFill/>
          <a:ln>
            <a:noFill/>
          </a:ln>
        </p:spPr>
        <p:txBody>
          <a:bodyPr spcFirstLastPara="1" wrap="square" lIns="0" tIns="0" rIns="0" bIns="0" anchor="t" anchorCtr="0">
            <a:noAutofit/>
          </a:bodyPr>
          <a:lstStyle/>
          <a:p>
            <a:pPr lvl="0">
              <a:lnSpc>
                <a:spcPct val="115000"/>
              </a:lnSpc>
              <a:spcBef>
                <a:spcPts val="1800"/>
              </a:spcBef>
              <a:buClr>
                <a:schemeClr val="dk1"/>
              </a:buClr>
              <a:buSzPts val="1100"/>
            </a:pPr>
            <a:r>
              <a:rPr lang="de-DE" sz="900" dirty="0">
                <a:solidFill>
                  <a:schemeClr val="dk1"/>
                </a:solidFill>
              </a:rPr>
              <a:t>Im aktuellen Kontext von Rohstoffknappheit und steigenden Preisen stellt die Verschwendung von Wertstoffen eine  Herausforderung dar. Um dieses Problem anzugehen, ist es entscheidend, die Materialeffizienz von Anfang an in den Vordergrund zu stellen und eine ganzheitliche Perspektive einzunehmen. Im Bereich der Beschichtungen und Oberflächenlösungen umfasst das Erreichen von Materialeffizienz verschiedene Elemente. Innovative Produkte sind so konzipiert, dass sie bestimmte Oberflächenfunktionen wie Schutz oder Dekoration erfüllen und gleichzeitig den Einsatz von Ressourcen und Schichtdicken minimieren. Dieser Ansatz geht oft mit Geschäftsmodellen einher, bei denen Kunden für die gewünschte Funktion und nicht für die Menge des verwendeten Materials bezahlen. Mit diesem Ansatz können Hersteller Abfall reduzieren und den Materialeinsatz optimieren.</a:t>
            </a:r>
            <a:br>
              <a:rPr lang="de-DE" sz="900" dirty="0">
                <a:solidFill>
                  <a:schemeClr val="dk1"/>
                </a:solidFill>
              </a:rPr>
            </a:br>
            <a:r>
              <a:rPr lang="de-DE" sz="900" dirty="0">
                <a:solidFill>
                  <a:schemeClr val="dk1"/>
                </a:solidFill>
              </a:rPr>
              <a:t>Ein Bereich, in dem die Materialeffizienz verbessert werden kann, ist der Sprühauftrag von Lacken. Diese Technik führt häufig zu </a:t>
            </a:r>
            <a:r>
              <a:rPr lang="de-DE" sz="900" dirty="0" err="1">
                <a:solidFill>
                  <a:schemeClr val="dk1"/>
                </a:solidFill>
              </a:rPr>
              <a:t>Overspray</a:t>
            </a:r>
            <a:r>
              <a:rPr lang="de-DE" sz="900" dirty="0">
                <a:solidFill>
                  <a:schemeClr val="dk1"/>
                </a:solidFill>
              </a:rPr>
              <a:t>-Effekten, die zum Verlust von hochwertigem Material führen. Darüber hinaus erzeugt dieser Prozess eine erhebliche Menge an Abfall, die eine ordnungsgemäße Handhabung erfordert. Durch den Einsatz von Techniken, die eine selektive Abscheidung ermöglichen, wie z. B. Druck, auch in drei Dimensionen (z. B. auf einer Karosserie), können die Abfallmenge und der Materialverlust jedoch erheblich reduziert werden. Auch der Produktionsprozess selbst spielt eine zentrale Rolle für das Erreichen der Materialeffizienz. Ein optimierter Produktionsaufbau zielt darauf ab, Ausschuss zu minimieren, den Wasser- und Energieverbrauch zu senken und das Recycling von Lösungsmitteln zu erleichtern. Digitale Lösungen können zur Analyse von Produktionsdaten eingesetzt werden, um potenzielle Probleme oder Abweichungen von Spezifikationen proaktiv zu identifizieren. Durch Investitionen in Forschung und Entwicklung und die Implementierung moderner Produktionsinfrastrukturen können Unternehmen entlang der Wertschöpfungskette zusammenarbeiten, um die Vorteile der Materialeffizienz zu maximieren.</a:t>
            </a:r>
            <a:br>
              <a:rPr lang="de-DE" sz="900" dirty="0">
                <a:solidFill>
                  <a:schemeClr val="dk1"/>
                </a:solidFill>
              </a:rPr>
            </a:br>
            <a:br>
              <a:rPr lang="de-DE" sz="900" dirty="0">
                <a:solidFill>
                  <a:schemeClr val="dk1"/>
                </a:solidFill>
              </a:rPr>
            </a:br>
            <a:r>
              <a:rPr lang="de-DE" sz="900" b="1" dirty="0">
                <a:solidFill>
                  <a:schemeClr val="dk1"/>
                </a:solidFill>
              </a:rPr>
              <a:t>Projekte: </a:t>
            </a:r>
            <a:r>
              <a:rPr lang="de-DE" sz="900" dirty="0" err="1">
                <a:solidFill>
                  <a:schemeClr val="dk1"/>
                </a:solidFill>
              </a:rPr>
              <a:t>Overspray</a:t>
            </a:r>
            <a:r>
              <a:rPr lang="de-DE" sz="900" dirty="0">
                <a:solidFill>
                  <a:schemeClr val="dk1"/>
                </a:solidFill>
              </a:rPr>
              <a:t>-freie Auftragung, Dünnschichttechnologien, Integrierte Prozesse, High-</a:t>
            </a:r>
            <a:r>
              <a:rPr lang="de-DE" sz="900" dirty="0" err="1">
                <a:solidFill>
                  <a:schemeClr val="dk1"/>
                </a:solidFill>
              </a:rPr>
              <a:t>Solids</a:t>
            </a:r>
            <a:r>
              <a:rPr lang="de-DE" sz="900" dirty="0">
                <a:solidFill>
                  <a:schemeClr val="dk1"/>
                </a:solidFill>
              </a:rPr>
              <a:t> Lacke, Wasserrecycling, Strukturelle Farben durch </a:t>
            </a:r>
            <a:r>
              <a:rPr lang="de-DE" sz="900" dirty="0">
                <a:solidFill>
                  <a:schemeClr val="dk1"/>
                </a:solidFill>
                <a:uFill>
                  <a:noFill/>
                </a:uFill>
              </a:rPr>
              <a:t>Bürsten-</a:t>
            </a:r>
            <a:r>
              <a:rPr lang="de-DE" sz="900" dirty="0" err="1">
                <a:solidFill>
                  <a:schemeClr val="dk1"/>
                </a:solidFill>
                <a:uFill>
                  <a:noFill/>
                </a:uFill>
              </a:rPr>
              <a:t>Blockcopolymere</a:t>
            </a:r>
            <a:br>
              <a:rPr lang="de-DE" sz="900" dirty="0">
                <a:solidFill>
                  <a:schemeClr val="dk1"/>
                </a:solidFill>
                <a:uFill>
                  <a:noFill/>
                </a:uFill>
              </a:rPr>
            </a:br>
            <a:br>
              <a:rPr lang="de-DE" sz="1000" dirty="0">
                <a:solidFill>
                  <a:srgbClr val="2A2A2A"/>
                </a:solidFill>
                <a:highlight>
                  <a:srgbClr val="FFFFFF"/>
                </a:highlight>
              </a:rPr>
            </a:br>
            <a:r>
              <a:rPr lang="de-DE" sz="900" b="1" dirty="0">
                <a:solidFill>
                  <a:srgbClr val="2A2A2A"/>
                </a:solidFill>
              </a:rPr>
              <a:t>Schlüsselwörter:</a:t>
            </a:r>
            <a:endParaRPr sz="900" b="1" dirty="0">
              <a:solidFill>
                <a:srgbClr val="2A2A2A"/>
              </a:solidFill>
              <a:highlight>
                <a:srgbClr val="FFFFFF"/>
              </a:highlight>
            </a:endParaRPr>
          </a:p>
        </p:txBody>
      </p:sp>
      <p:sp>
        <p:nvSpPr>
          <p:cNvPr id="1868" name="Google Shape;1868;g2a57c4556f4_3_173"/>
          <p:cNvSpPr txBox="1">
            <a:spLocks noGrp="1"/>
          </p:cNvSpPr>
          <p:nvPr>
            <p:ph type="title"/>
          </p:nvPr>
        </p:nvSpPr>
        <p:spPr>
          <a:xfrm>
            <a:off x="5358875" y="795725"/>
            <a:ext cx="6325800" cy="451800"/>
          </a:xfrm>
          <a:prstGeom prst="rect">
            <a:avLst/>
          </a:prstGeom>
          <a:noFill/>
          <a:ln>
            <a:noFill/>
          </a:ln>
        </p:spPr>
        <p:txBody>
          <a:bodyPr spcFirstLastPara="1" wrap="square" lIns="0" tIns="0" rIns="0" bIns="0" anchor="t" anchorCtr="0">
            <a:noAutofit/>
          </a:bodyPr>
          <a:lstStyle/>
          <a:p>
            <a:pPr lvl="0">
              <a:spcBef>
                <a:spcPts val="0"/>
              </a:spcBef>
              <a:buClr>
                <a:schemeClr val="dk1"/>
              </a:buClr>
              <a:buSzPts val="1100"/>
            </a:pPr>
            <a:r>
              <a:rPr lang="de-DE" dirty="0"/>
              <a:t>Materialeffizienz</a:t>
            </a:r>
            <a:endParaRPr dirty="0"/>
          </a:p>
        </p:txBody>
      </p:sp>
      <p:sp>
        <p:nvSpPr>
          <p:cNvPr id="1869" name="Google Shape;1869;g2a57c4556f4_3_173"/>
          <p:cNvSpPr/>
          <p:nvPr/>
        </p:nvSpPr>
        <p:spPr>
          <a:xfrm>
            <a:off x="5358875" y="5298238"/>
            <a:ext cx="756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Knappheit</a:t>
            </a:r>
            <a:endParaRPr sz="1000">
              <a:solidFill>
                <a:schemeClr val="lt1"/>
              </a:solidFill>
            </a:endParaRPr>
          </a:p>
        </p:txBody>
      </p:sp>
      <p:pic>
        <p:nvPicPr>
          <p:cNvPr id="1874" name="Google Shape;1874;g2a57c4556f4_3_173"/>
          <p:cNvPicPr preferRelativeResize="0">
            <a:picLocks noChangeAspect="1"/>
          </p:cNvPicPr>
          <p:nvPr/>
        </p:nvPicPr>
        <p:blipFill rotWithShape="1">
          <a:blip r:embed="rId3">
            <a:alphaModFix/>
          </a:blip>
          <a:srcRect t="-14484" b="-14613"/>
          <a:stretch/>
        </p:blipFill>
        <p:spPr>
          <a:xfrm>
            <a:off x="1042971" y="902917"/>
            <a:ext cx="3193329" cy="4746290"/>
          </a:xfrm>
          <a:prstGeom prst="rect">
            <a:avLst/>
          </a:prstGeom>
          <a:noFill/>
          <a:ln>
            <a:noFill/>
          </a:ln>
        </p:spPr>
      </p:pic>
      <p:sp>
        <p:nvSpPr>
          <p:cNvPr id="1875" name="Google Shape;1875;g2a57c4556f4_3_173"/>
          <p:cNvSpPr/>
          <p:nvPr/>
        </p:nvSpPr>
        <p:spPr>
          <a:xfrm>
            <a:off x="6165903" y="5298238"/>
            <a:ext cx="504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Abfall</a:t>
            </a:r>
            <a:endParaRPr sz="1000">
              <a:solidFill>
                <a:schemeClr val="lt1"/>
              </a:solidFill>
            </a:endParaRPr>
          </a:p>
        </p:txBody>
      </p:sp>
      <p:sp>
        <p:nvSpPr>
          <p:cNvPr id="1876" name="Google Shape;1876;g2a57c4556f4_3_173"/>
          <p:cNvSpPr/>
          <p:nvPr/>
        </p:nvSpPr>
        <p:spPr>
          <a:xfrm>
            <a:off x="6730005" y="5298238"/>
            <a:ext cx="1296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Wertvolles Material</a:t>
            </a:r>
            <a:endParaRPr sz="1000">
              <a:solidFill>
                <a:schemeClr val="lt1"/>
              </a:solidFill>
            </a:endParaRPr>
          </a:p>
        </p:txBody>
      </p:sp>
      <p:sp>
        <p:nvSpPr>
          <p:cNvPr id="1877" name="Google Shape;1877;g2a57c4556f4_3_173"/>
          <p:cNvSpPr/>
          <p:nvPr/>
        </p:nvSpPr>
        <p:spPr>
          <a:xfrm>
            <a:off x="7964625" y="5298238"/>
            <a:ext cx="1656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Lebenszyklus-Perspektive</a:t>
            </a:r>
            <a:endParaRPr sz="1000">
              <a:solidFill>
                <a:schemeClr val="lt1"/>
              </a:solidFill>
            </a:endParaRPr>
          </a:p>
        </p:txBody>
      </p:sp>
      <p:sp>
        <p:nvSpPr>
          <p:cNvPr id="1878" name="Google Shape;1878;g2a57c4556f4_3_173"/>
          <p:cNvSpPr/>
          <p:nvPr/>
        </p:nvSpPr>
        <p:spPr>
          <a:xfrm>
            <a:off x="5358875" y="5551738"/>
            <a:ext cx="1260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Ressourceneinsatz</a:t>
            </a:r>
            <a:endParaRPr sz="1000">
              <a:solidFill>
                <a:schemeClr val="lt1"/>
              </a:solidFill>
            </a:endParaRPr>
          </a:p>
        </p:txBody>
      </p:sp>
      <p:sp>
        <p:nvSpPr>
          <p:cNvPr id="1879" name="Google Shape;1879;g2a57c4556f4_3_173"/>
          <p:cNvSpPr/>
          <p:nvPr/>
        </p:nvSpPr>
        <p:spPr>
          <a:xfrm>
            <a:off x="6682365" y="5551738"/>
            <a:ext cx="12165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Schichtdicke</a:t>
            </a:r>
            <a:endParaRPr sz="1000">
              <a:solidFill>
                <a:schemeClr val="lt1"/>
              </a:solidFill>
            </a:endParaRPr>
          </a:p>
        </p:txBody>
      </p:sp>
      <p:sp>
        <p:nvSpPr>
          <p:cNvPr id="1880" name="Google Shape;1880;g2a57c4556f4_3_173"/>
          <p:cNvSpPr/>
          <p:nvPr/>
        </p:nvSpPr>
        <p:spPr>
          <a:xfrm>
            <a:off x="7960025" y="5551738"/>
            <a:ext cx="12165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Abfallreduzierung</a:t>
            </a:r>
            <a:endParaRPr sz="1000">
              <a:solidFill>
                <a:schemeClr val="lt1"/>
              </a:solidFill>
            </a:endParaRPr>
          </a:p>
        </p:txBody>
      </p:sp>
      <p:sp>
        <p:nvSpPr>
          <p:cNvPr id="1881" name="Google Shape;1881;g2a57c4556f4_3_173"/>
          <p:cNvSpPr/>
          <p:nvPr/>
        </p:nvSpPr>
        <p:spPr>
          <a:xfrm>
            <a:off x="5358875" y="5801963"/>
            <a:ext cx="1440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Bewerbungsverfahren</a:t>
            </a:r>
            <a:endParaRPr sz="1000">
              <a:solidFill>
                <a:schemeClr val="lt1"/>
              </a:solidFill>
            </a:endParaRPr>
          </a:p>
        </p:txBody>
      </p:sp>
      <p:sp>
        <p:nvSpPr>
          <p:cNvPr id="1882" name="Google Shape;1882;g2a57c4556f4_3_173"/>
          <p:cNvSpPr/>
          <p:nvPr/>
        </p:nvSpPr>
        <p:spPr>
          <a:xfrm>
            <a:off x="6861039" y="5801963"/>
            <a:ext cx="8418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err="1">
                <a:solidFill>
                  <a:schemeClr val="lt1"/>
                </a:solidFill>
              </a:rPr>
              <a:t>Overspray</a:t>
            </a:r>
            <a:endParaRPr sz="1000">
              <a:solidFill>
                <a:schemeClr val="lt1"/>
              </a:solidFill>
            </a:endParaRPr>
          </a:p>
        </p:txBody>
      </p:sp>
      <p:sp>
        <p:nvSpPr>
          <p:cNvPr id="1883" name="Google Shape;1883;g2a57c4556f4_3_173"/>
          <p:cNvSpPr/>
          <p:nvPr/>
        </p:nvSpPr>
        <p:spPr>
          <a:xfrm>
            <a:off x="9673029" y="5298238"/>
            <a:ext cx="1476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Selektive Abscheidung</a:t>
            </a:r>
            <a:endParaRPr sz="1000">
              <a:solidFill>
                <a:schemeClr val="lt1"/>
              </a:solidFill>
            </a:endParaRPr>
          </a:p>
        </p:txBody>
      </p:sp>
      <p:sp>
        <p:nvSpPr>
          <p:cNvPr id="1884" name="Google Shape;1884;g2a57c4556f4_3_173"/>
          <p:cNvSpPr/>
          <p:nvPr/>
        </p:nvSpPr>
        <p:spPr>
          <a:xfrm>
            <a:off x="10767518" y="5546007"/>
            <a:ext cx="8418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Produktion</a:t>
            </a:r>
            <a:endParaRPr sz="1000">
              <a:solidFill>
                <a:schemeClr val="lt1"/>
              </a:solidFill>
            </a:endParaRPr>
          </a:p>
        </p:txBody>
      </p:sp>
      <p:sp>
        <p:nvSpPr>
          <p:cNvPr id="1885" name="Google Shape;1885;g2a57c4556f4_3_173"/>
          <p:cNvSpPr/>
          <p:nvPr/>
        </p:nvSpPr>
        <p:spPr>
          <a:xfrm>
            <a:off x="9171567" y="5800513"/>
            <a:ext cx="12600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Ausschusswaren</a:t>
            </a:r>
            <a:endParaRPr sz="1000">
              <a:solidFill>
                <a:schemeClr val="lt1"/>
              </a:solidFill>
            </a:endParaRPr>
          </a:p>
        </p:txBody>
      </p:sp>
      <p:sp>
        <p:nvSpPr>
          <p:cNvPr id="1886" name="Google Shape;1886;g2a57c4556f4_3_173"/>
          <p:cNvSpPr/>
          <p:nvPr/>
        </p:nvSpPr>
        <p:spPr>
          <a:xfrm>
            <a:off x="7774506" y="5801963"/>
            <a:ext cx="13359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Wasserverbrauch</a:t>
            </a:r>
            <a:endParaRPr sz="1000">
              <a:solidFill>
                <a:schemeClr val="lt1"/>
              </a:solidFill>
            </a:endParaRPr>
          </a:p>
        </p:txBody>
      </p:sp>
      <p:sp>
        <p:nvSpPr>
          <p:cNvPr id="1887" name="Google Shape;1887;g2a57c4556f4_3_173"/>
          <p:cNvSpPr/>
          <p:nvPr/>
        </p:nvSpPr>
        <p:spPr>
          <a:xfrm>
            <a:off x="9237685" y="5548871"/>
            <a:ext cx="14715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Energieverbrauch</a:t>
            </a:r>
            <a:endParaRPr sz="1000">
              <a:solidFill>
                <a:schemeClr val="lt1"/>
              </a:solidFill>
            </a:endParaRPr>
          </a:p>
        </p:txBody>
      </p:sp>
      <p:sp>
        <p:nvSpPr>
          <p:cNvPr id="1888" name="Google Shape;1888;g2a57c4556f4_3_173"/>
          <p:cNvSpPr/>
          <p:nvPr/>
        </p:nvSpPr>
        <p:spPr>
          <a:xfrm>
            <a:off x="5359000" y="6052188"/>
            <a:ext cx="1584000" cy="206400"/>
          </a:xfrm>
          <a:prstGeom prst="rect">
            <a:avLst/>
          </a:prstGeom>
          <a:solidFill>
            <a:srgbClr val="65AC2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de-DE" sz="1000">
                <a:solidFill>
                  <a:schemeClr val="lt1"/>
                </a:solidFill>
              </a:rPr>
              <a:t>Lösungsmittel-Recycling</a:t>
            </a:r>
            <a:endParaRPr sz="1000">
              <a:solidFill>
                <a:schemeClr val="lt1"/>
              </a:solidFill>
            </a:endParaRPr>
          </a:p>
        </p:txBody>
      </p:sp>
      <p:sp>
        <p:nvSpPr>
          <p:cNvPr id="1889" name="Google Shape;1889;g2a57c4556f4_3_173"/>
          <p:cNvSpPr/>
          <p:nvPr/>
        </p:nvSpPr>
        <p:spPr>
          <a:xfrm>
            <a:off x="7010641" y="6052188"/>
            <a:ext cx="988800" cy="206400"/>
          </a:xfrm>
          <a:prstGeom prst="rect">
            <a:avLst/>
          </a:prstGeom>
          <a:solidFill>
            <a:srgbClr val="65AC20"/>
          </a:solidFill>
          <a:ln>
            <a:noFill/>
          </a:ln>
        </p:spPr>
        <p:txBody>
          <a:bodyPr spcFirstLastPara="1" wrap="square" lIns="91425" tIns="91425" rIns="91425" bIns="91425" anchor="ctr" anchorCtr="0">
            <a:noAutofit/>
          </a:bodyPr>
          <a:lstStyle/>
          <a:p>
            <a:pPr lvl="0" algn="ctr"/>
            <a:r>
              <a:rPr lang="de-DE" sz="1000">
                <a:solidFill>
                  <a:schemeClr val="lt1"/>
                </a:solidFill>
              </a:rPr>
              <a:t>Datenanalyse</a:t>
            </a:r>
            <a:endParaRPr sz="1000">
              <a:solidFill>
                <a:schemeClr val="lt1"/>
              </a:solidFill>
            </a:endParaRPr>
          </a:p>
        </p:txBody>
      </p:sp>
      <p:pic>
        <p:nvPicPr>
          <p:cNvPr id="2" name="Google Shape;1516;g291664d05b2_0_12">
            <a:extLst>
              <a:ext uri="{FF2B5EF4-FFF2-40B4-BE49-F238E27FC236}">
                <a16:creationId xmlns:a16="http://schemas.microsoft.com/office/drawing/2014/main" id="{C3E6E631-BFA5-087F-0900-69292A7B6DB1}"/>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4C3214F5-3F46-6B7E-A2E0-7F604C65AA7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1</a:t>
            </a:fld>
            <a:endParaRPr lang="de-DE"/>
          </a:p>
        </p:txBody>
      </p:sp>
    </p:spTree>
    <p:extLst>
      <p:ext uri="{BB962C8B-B14F-4D97-AF65-F5344CB8AC3E}">
        <p14:creationId xmlns:p14="http://schemas.microsoft.com/office/powerpoint/2010/main" val="288060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864">
          <a:extLst>
            <a:ext uri="{FF2B5EF4-FFF2-40B4-BE49-F238E27FC236}">
              <a16:creationId xmlns:a16="http://schemas.microsoft.com/office/drawing/2014/main" id="{387E9880-6601-1AAC-4820-6D0EAFF40788}"/>
            </a:ext>
          </a:extLst>
        </p:cNvPr>
        <p:cNvGrpSpPr/>
        <p:nvPr/>
      </p:nvGrpSpPr>
      <p:grpSpPr>
        <a:xfrm>
          <a:off x="0" y="0"/>
          <a:ext cx="0" cy="0"/>
          <a:chOff x="0" y="0"/>
          <a:chExt cx="0" cy="0"/>
        </a:xfrm>
      </p:grpSpPr>
      <p:pic>
        <p:nvPicPr>
          <p:cNvPr id="1874" name="Google Shape;1874;g2a57c4556f4_3_173">
            <a:extLst>
              <a:ext uri="{FF2B5EF4-FFF2-40B4-BE49-F238E27FC236}">
                <a16:creationId xmlns:a16="http://schemas.microsoft.com/office/drawing/2014/main" id="{BA315841-8FAE-972F-34DB-8BFB0EA48FA5}"/>
              </a:ext>
            </a:extLst>
          </p:cNvPr>
          <p:cNvPicPr preferRelativeResize="0">
            <a:picLocks noChangeAspect="1"/>
          </p:cNvPicPr>
          <p:nvPr/>
        </p:nvPicPr>
        <p:blipFill rotWithShape="1">
          <a:blip r:embed="rId3">
            <a:alphaModFix/>
          </a:blip>
          <a:srcRect t="-14484" b="-14613"/>
          <a:stretch/>
        </p:blipFill>
        <p:spPr>
          <a:xfrm>
            <a:off x="1042971" y="902917"/>
            <a:ext cx="3193329" cy="4746290"/>
          </a:xfrm>
          <a:prstGeom prst="rect">
            <a:avLst/>
          </a:prstGeom>
          <a:noFill/>
          <a:ln>
            <a:noFill/>
          </a:ln>
        </p:spPr>
      </p:pic>
      <p:sp>
        <p:nvSpPr>
          <p:cNvPr id="3" name="Titel 2">
            <a:extLst>
              <a:ext uri="{FF2B5EF4-FFF2-40B4-BE49-F238E27FC236}">
                <a16:creationId xmlns:a16="http://schemas.microsoft.com/office/drawing/2014/main" id="{F64E64A0-18E0-6FB3-39D1-07EE5CDC4ADC}"/>
              </a:ext>
            </a:extLst>
          </p:cNvPr>
          <p:cNvSpPr>
            <a:spLocks noGrp="1"/>
          </p:cNvSpPr>
          <p:nvPr>
            <p:ph type="title"/>
          </p:nvPr>
        </p:nvSpPr>
        <p:spPr>
          <a:xfrm>
            <a:off x="219600" y="432000"/>
            <a:ext cx="4880301" cy="853200"/>
          </a:xfrm>
        </p:spPr>
        <p:txBody>
          <a:bodyPr/>
          <a:lstStyle/>
          <a:p>
            <a:pPr algn="ctr"/>
            <a:r>
              <a:rPr lang="de-DE" dirty="0"/>
              <a:t>Materialeffizienz: </a:t>
            </a:r>
            <a:br>
              <a:rPr lang="de-DE" dirty="0"/>
            </a:br>
            <a:r>
              <a:rPr lang="de-DE" sz="2400" b="0" dirty="0"/>
              <a:t>Strukturierte Farben</a:t>
            </a:r>
            <a:endParaRPr lang="de-DE" b="0" dirty="0"/>
          </a:p>
        </p:txBody>
      </p:sp>
      <p:pic>
        <p:nvPicPr>
          <p:cNvPr id="6" name="Google Shape;1516;g291664d05b2_0_12">
            <a:extLst>
              <a:ext uri="{FF2B5EF4-FFF2-40B4-BE49-F238E27FC236}">
                <a16:creationId xmlns:a16="http://schemas.microsoft.com/office/drawing/2014/main" id="{444B94D8-87EC-3A17-755F-77D391849716}"/>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grpSp>
        <p:nvGrpSpPr>
          <p:cNvPr id="22" name="Gruppieren 21">
            <a:extLst>
              <a:ext uri="{FF2B5EF4-FFF2-40B4-BE49-F238E27FC236}">
                <a16:creationId xmlns:a16="http://schemas.microsoft.com/office/drawing/2014/main" id="{CD615D11-E3F0-2237-F76C-B925A08C058E}"/>
              </a:ext>
            </a:extLst>
          </p:cNvPr>
          <p:cNvGrpSpPr/>
          <p:nvPr/>
        </p:nvGrpSpPr>
        <p:grpSpPr>
          <a:xfrm>
            <a:off x="4014116" y="0"/>
            <a:ext cx="8177884" cy="6858000"/>
            <a:chOff x="4014116" y="0"/>
            <a:chExt cx="8177884" cy="6858000"/>
          </a:xfrm>
        </p:grpSpPr>
        <p:grpSp>
          <p:nvGrpSpPr>
            <p:cNvPr id="7" name="Group 228">
              <a:extLst>
                <a:ext uri="{FF2B5EF4-FFF2-40B4-BE49-F238E27FC236}">
                  <a16:creationId xmlns:a16="http://schemas.microsoft.com/office/drawing/2014/main" id="{7CB3E6B0-031B-D488-5C87-26BC31DCC616}"/>
                </a:ext>
              </a:extLst>
            </p:cNvPr>
            <p:cNvGrpSpPr/>
            <p:nvPr/>
          </p:nvGrpSpPr>
          <p:grpSpPr>
            <a:xfrm>
              <a:off x="4014116" y="5403944"/>
              <a:ext cx="1307969" cy="943045"/>
              <a:chOff x="3505168" y="1707870"/>
              <a:chExt cx="2337422" cy="2050057"/>
            </a:xfrm>
          </p:grpSpPr>
          <p:pic>
            <p:nvPicPr>
              <p:cNvPr id="8" name="Picture 6" descr="Cypris Materials - CalSEED">
                <a:extLst>
                  <a:ext uri="{FF2B5EF4-FFF2-40B4-BE49-F238E27FC236}">
                    <a16:creationId xmlns:a16="http://schemas.microsoft.com/office/drawing/2014/main" id="{CCDACE27-F010-EEA8-C8F3-0A93CCF22E3B}"/>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27124" r="27891" b="49787"/>
              <a:stretch/>
            </p:blipFill>
            <p:spPr bwMode="auto">
              <a:xfrm>
                <a:off x="3505168" y="1707870"/>
                <a:ext cx="2337422" cy="138099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230">
                <a:extLst>
                  <a:ext uri="{FF2B5EF4-FFF2-40B4-BE49-F238E27FC236}">
                    <a16:creationId xmlns:a16="http://schemas.microsoft.com/office/drawing/2014/main" id="{A7D9E18C-594A-A4C1-A2DD-9ACE4BA56C62}"/>
                  </a:ext>
                </a:extLst>
              </p:cNvPr>
              <p:cNvSpPr txBox="1"/>
              <p:nvPr/>
            </p:nvSpPr>
            <p:spPr>
              <a:xfrm>
                <a:off x="3826711" y="3088860"/>
                <a:ext cx="1694335" cy="669067"/>
              </a:xfrm>
              <a:prstGeom prst="rect">
                <a:avLst/>
              </a:prstGeom>
              <a:noFill/>
            </p:spPr>
            <p:txBody>
              <a:bodyPr wrap="square">
                <a:spAutoFit/>
              </a:bodyPr>
              <a:lstStyle/>
              <a:p>
                <a:pPr algn="ctr"/>
                <a:r>
                  <a:rPr lang="en-US" sz="1400">
                    <a:solidFill>
                      <a:srgbClr val="363636"/>
                    </a:solidFill>
                    <a:latin typeface="Nobel-Bold"/>
                  </a:rPr>
                  <a:t>CYPRIS</a:t>
                </a:r>
              </a:p>
            </p:txBody>
          </p:sp>
        </p:grpSp>
        <p:grpSp>
          <p:nvGrpSpPr>
            <p:cNvPr id="21" name="Gruppieren 20">
              <a:extLst>
                <a:ext uri="{FF2B5EF4-FFF2-40B4-BE49-F238E27FC236}">
                  <a16:creationId xmlns:a16="http://schemas.microsoft.com/office/drawing/2014/main" id="{0C6B8C96-7FFE-5B78-2177-565CA0071DE5}"/>
                </a:ext>
              </a:extLst>
            </p:cNvPr>
            <p:cNvGrpSpPr/>
            <p:nvPr/>
          </p:nvGrpSpPr>
          <p:grpSpPr>
            <a:xfrm>
              <a:off x="6096000" y="0"/>
              <a:ext cx="6096000" cy="6858000"/>
              <a:chOff x="6096000" y="0"/>
              <a:chExt cx="6096000" cy="6858000"/>
            </a:xfrm>
          </p:grpSpPr>
          <p:sp>
            <p:nvSpPr>
              <p:cNvPr id="4" name="Rechteck 3">
                <a:extLst>
                  <a:ext uri="{FF2B5EF4-FFF2-40B4-BE49-F238E27FC236}">
                    <a16:creationId xmlns:a16="http://schemas.microsoft.com/office/drawing/2014/main" id="{398822FF-0818-DE8A-0E62-1E190D67DE26}"/>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691EF278-B4AB-20EE-B549-962CE3683AE0}"/>
                  </a:ext>
                </a:extLst>
              </p:cNvPr>
              <p:cNvSpPr/>
              <p:nvPr/>
            </p:nvSpPr>
            <p:spPr>
              <a:xfrm>
                <a:off x="6589060" y="381896"/>
                <a:ext cx="5217458" cy="35123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2">
                <a:extLst>
                  <a:ext uri="{FF2B5EF4-FFF2-40B4-BE49-F238E27FC236}">
                    <a16:creationId xmlns:a16="http://schemas.microsoft.com/office/drawing/2014/main" id="{16C6F1C6-2F92-0926-A69F-073E56BE5451}"/>
                  </a:ext>
                </a:extLst>
              </p:cNvPr>
              <p:cNvSpPr txBox="1">
                <a:spLocks/>
              </p:cNvSpPr>
              <p:nvPr/>
            </p:nvSpPr>
            <p:spPr>
              <a:xfrm>
                <a:off x="6541502" y="4498893"/>
                <a:ext cx="5393551" cy="2122458"/>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266700" lvl="0" indent="-266700">
                  <a:buClr>
                    <a:srgbClr val="00793A"/>
                  </a:buClr>
                </a:pPr>
                <a:r>
                  <a:rPr lang="en-US" sz="1800" b="1" dirty="0" err="1"/>
                  <a:t>Leuchtende</a:t>
                </a:r>
                <a:r>
                  <a:rPr lang="en-US" sz="1800" b="1" dirty="0"/>
                  <a:t> </a:t>
                </a:r>
                <a:r>
                  <a:rPr lang="en-US" sz="1800" b="1" dirty="0" err="1"/>
                  <a:t>Farben</a:t>
                </a:r>
                <a:r>
                  <a:rPr lang="en-US" sz="1800" b="1" dirty="0"/>
                  <a:t> </a:t>
                </a:r>
                <a:r>
                  <a:rPr lang="en-US" sz="1800" b="1" dirty="0" err="1"/>
                  <a:t>ohne</a:t>
                </a:r>
                <a:r>
                  <a:rPr lang="en-US" sz="1800" b="1" dirty="0"/>
                  <a:t> </a:t>
                </a:r>
                <a:r>
                  <a:rPr lang="en-US" sz="1800" b="1" dirty="0" err="1"/>
                  <a:t>Farbstoff</a:t>
                </a:r>
                <a:endParaRPr lang="en-US" sz="1800" b="1" dirty="0"/>
              </a:p>
              <a:p>
                <a:pPr marL="266700" lvl="0" indent="-266700">
                  <a:buClr>
                    <a:srgbClr val="00793A"/>
                  </a:buClr>
                </a:pPr>
                <a:r>
                  <a:rPr lang="en-US" sz="1400" dirty="0" err="1"/>
                  <a:t>Farbe</a:t>
                </a:r>
                <a:r>
                  <a:rPr lang="en-US" sz="1400" dirty="0"/>
                  <a:t> </a:t>
                </a:r>
                <a:r>
                  <a:rPr lang="en-US" sz="1400" dirty="0" err="1"/>
                  <a:t>entsteht</a:t>
                </a:r>
                <a:r>
                  <a:rPr lang="en-US" sz="1400" dirty="0"/>
                  <a:t> </a:t>
                </a:r>
                <a:r>
                  <a:rPr lang="en-US" sz="1400" dirty="0" err="1"/>
                  <a:t>durch</a:t>
                </a:r>
                <a:r>
                  <a:rPr lang="en-US" sz="1400" dirty="0"/>
                  <a:t> </a:t>
                </a:r>
                <a:r>
                  <a:rPr lang="en-US" sz="1400" dirty="0" err="1"/>
                  <a:t>Interferenz</a:t>
                </a:r>
                <a:r>
                  <a:rPr lang="en-US" sz="1400" dirty="0"/>
                  <a:t> von Licht, </a:t>
                </a:r>
                <a:r>
                  <a:rPr lang="en-US" sz="1400" dirty="0" err="1"/>
                  <a:t>nicht</a:t>
                </a:r>
                <a:r>
                  <a:rPr lang="en-US" sz="1400" dirty="0"/>
                  <a:t> </a:t>
                </a:r>
                <a:r>
                  <a:rPr lang="en-US" sz="1400" dirty="0" err="1"/>
                  <a:t>durch</a:t>
                </a:r>
                <a:r>
                  <a:rPr lang="en-US" sz="1400" dirty="0"/>
                  <a:t> </a:t>
                </a:r>
                <a:r>
                  <a:rPr lang="en-US" sz="1400" dirty="0" err="1"/>
                  <a:t>Pigmente</a:t>
                </a:r>
                <a:endParaRPr lang="en-US" sz="1400" dirty="0"/>
              </a:p>
              <a:p>
                <a:pPr marL="550175" lvl="1" indent="-266700">
                  <a:buClr>
                    <a:srgbClr val="00793A"/>
                  </a:buClr>
                </a:pPr>
                <a:r>
                  <a:rPr lang="en-US" sz="1400" dirty="0"/>
                  <a:t>“</a:t>
                </a:r>
                <a:r>
                  <a:rPr lang="en-US" sz="1400" dirty="0" err="1"/>
                  <a:t>Schmetterlings-Effekt</a:t>
                </a:r>
                <a:r>
                  <a:rPr lang="en-US" sz="1400" dirty="0"/>
                  <a:t>” </a:t>
                </a:r>
              </a:p>
              <a:p>
                <a:pPr marL="550175" lvl="1" indent="-266700">
                  <a:buClr>
                    <a:srgbClr val="00793A"/>
                  </a:buClr>
                </a:pPr>
                <a:r>
                  <a:rPr lang="en-US" sz="1400" dirty="0" err="1"/>
                  <a:t>Neuartige</a:t>
                </a:r>
                <a:r>
                  <a:rPr lang="en-US" sz="1400" dirty="0"/>
                  <a:t> </a:t>
                </a:r>
                <a:r>
                  <a:rPr lang="en-US" sz="1400" dirty="0" err="1"/>
                  <a:t>Polymere</a:t>
                </a:r>
                <a:r>
                  <a:rPr lang="en-US" sz="1400" dirty="0"/>
                  <a:t>, die </a:t>
                </a:r>
                <a:r>
                  <a:rPr lang="en-US" sz="1400" dirty="0" err="1"/>
                  <a:t>keine</a:t>
                </a:r>
                <a:r>
                  <a:rPr lang="en-US" sz="1400" dirty="0"/>
                  <a:t> </a:t>
                </a:r>
                <a:r>
                  <a:rPr lang="en-US" sz="1400" dirty="0" err="1"/>
                  <a:t>Pigmente</a:t>
                </a:r>
                <a:r>
                  <a:rPr lang="en-US" sz="1400" dirty="0"/>
                  <a:t> </a:t>
                </a:r>
                <a:r>
                  <a:rPr lang="en-US" sz="1400" dirty="0" err="1"/>
                  <a:t>enthalten</a:t>
                </a:r>
                <a:endParaRPr lang="en-US" sz="1400" dirty="0"/>
              </a:p>
              <a:p>
                <a:pPr marL="550175" lvl="1" indent="-266700">
                  <a:buClr>
                    <a:srgbClr val="00793A"/>
                  </a:buClr>
                </a:pPr>
                <a:r>
                  <a:rPr lang="en-US" sz="1400" dirty="0"/>
                  <a:t>Art und </a:t>
                </a:r>
                <a:r>
                  <a:rPr lang="en-US" sz="1400" dirty="0" err="1"/>
                  <a:t>Eigenschaften</a:t>
                </a:r>
                <a:r>
                  <a:rPr lang="en-US" sz="1400" dirty="0"/>
                  <a:t> des Polymers </a:t>
                </a:r>
                <a:r>
                  <a:rPr lang="en-US" sz="1400" dirty="0" err="1"/>
                  <a:t>sowie</a:t>
                </a:r>
                <a:r>
                  <a:rPr lang="en-US" sz="1400" dirty="0"/>
                  <a:t> die </a:t>
                </a:r>
                <a:r>
                  <a:rPr lang="en-US" sz="1400" dirty="0" err="1"/>
                  <a:t>Grundierung</a:t>
                </a:r>
                <a:r>
                  <a:rPr lang="en-US" sz="1400" dirty="0"/>
                  <a:t> </a:t>
                </a:r>
                <a:r>
                  <a:rPr lang="en-US" sz="1400" dirty="0" err="1"/>
                  <a:t>entscheiden</a:t>
                </a:r>
                <a:r>
                  <a:rPr lang="en-US" sz="1400" dirty="0"/>
                  <a:t> </a:t>
                </a:r>
                <a:r>
                  <a:rPr lang="en-US" sz="1400" dirty="0" err="1"/>
                  <a:t>über</a:t>
                </a:r>
                <a:r>
                  <a:rPr lang="en-US" sz="1400" dirty="0"/>
                  <a:t> die </a:t>
                </a:r>
                <a:r>
                  <a:rPr lang="en-US" sz="1400" dirty="0" err="1"/>
                  <a:t>Farbe</a:t>
                </a:r>
                <a:r>
                  <a:rPr lang="en-US" sz="1400" dirty="0"/>
                  <a:t> </a:t>
                </a:r>
              </a:p>
              <a:p>
                <a:pPr marL="266700" indent="-266700">
                  <a:buClr>
                    <a:srgbClr val="00793A"/>
                  </a:buClr>
                </a:pPr>
                <a:r>
                  <a:rPr lang="en-US" sz="1400" dirty="0" err="1"/>
                  <a:t>Partnerschaftliche</a:t>
                </a:r>
                <a:r>
                  <a:rPr lang="en-US" sz="1400" dirty="0"/>
                  <a:t> </a:t>
                </a:r>
                <a:r>
                  <a:rPr lang="en-US" sz="1400" dirty="0" err="1"/>
                  <a:t>Entwicklung</a:t>
                </a:r>
                <a:r>
                  <a:rPr lang="en-US" sz="1400" dirty="0"/>
                  <a:t> mit Cypris Materials, USA</a:t>
                </a:r>
              </a:p>
              <a:p>
                <a:pPr marL="550175" lvl="1" indent="-266700"/>
                <a:endParaRPr lang="en-US" sz="1400" dirty="0"/>
              </a:p>
            </p:txBody>
          </p:sp>
          <p:grpSp>
            <p:nvGrpSpPr>
              <p:cNvPr id="18" name="Gruppieren 17">
                <a:extLst>
                  <a:ext uri="{FF2B5EF4-FFF2-40B4-BE49-F238E27FC236}">
                    <a16:creationId xmlns:a16="http://schemas.microsoft.com/office/drawing/2014/main" id="{E9F3DF26-FFA4-D954-F960-3179C95F63F3}"/>
                  </a:ext>
                </a:extLst>
              </p:cNvPr>
              <p:cNvGrpSpPr/>
              <p:nvPr/>
            </p:nvGrpSpPr>
            <p:grpSpPr>
              <a:xfrm>
                <a:off x="6638324" y="429142"/>
                <a:ext cx="5105633" cy="3423588"/>
                <a:chOff x="6638324" y="429142"/>
                <a:chExt cx="5105633" cy="3423588"/>
              </a:xfrm>
            </p:grpSpPr>
            <p:pic>
              <p:nvPicPr>
                <p:cNvPr id="12" name="Grafik 11">
                  <a:extLst>
                    <a:ext uri="{FF2B5EF4-FFF2-40B4-BE49-F238E27FC236}">
                      <a16:creationId xmlns:a16="http://schemas.microsoft.com/office/drawing/2014/main" id="{8432F405-15C7-1D17-4582-CAC41D105DD2}"/>
                    </a:ext>
                  </a:extLst>
                </p:cNvPr>
                <p:cNvPicPr>
                  <a:picLocks noChangeAspect="1"/>
                </p:cNvPicPr>
                <p:nvPr/>
              </p:nvPicPr>
              <p:blipFill>
                <a:blip r:embed="rId6"/>
                <a:stretch>
                  <a:fillRect/>
                </a:stretch>
              </p:blipFill>
              <p:spPr>
                <a:xfrm>
                  <a:off x="6638324" y="429142"/>
                  <a:ext cx="2621414" cy="1621196"/>
                </a:xfrm>
                <a:prstGeom prst="rect">
                  <a:avLst/>
                </a:prstGeom>
                <a:ln>
                  <a:solidFill>
                    <a:schemeClr val="bg1"/>
                  </a:solidFill>
                </a:ln>
              </p:spPr>
            </p:pic>
            <p:pic>
              <p:nvPicPr>
                <p:cNvPr id="13" name="Grafik 12">
                  <a:extLst>
                    <a:ext uri="{FF2B5EF4-FFF2-40B4-BE49-F238E27FC236}">
                      <a16:creationId xmlns:a16="http://schemas.microsoft.com/office/drawing/2014/main" id="{2B7E6E8F-00B6-04E4-54BF-917C98785F68}"/>
                    </a:ext>
                  </a:extLst>
                </p:cNvPr>
                <p:cNvPicPr>
                  <a:picLocks noChangeAspect="1"/>
                </p:cNvPicPr>
                <p:nvPr/>
              </p:nvPicPr>
              <p:blipFill>
                <a:blip r:embed="rId7"/>
                <a:stretch>
                  <a:fillRect/>
                </a:stretch>
              </p:blipFill>
              <p:spPr>
                <a:xfrm>
                  <a:off x="8537355" y="2056532"/>
                  <a:ext cx="3203007" cy="1796198"/>
                </a:xfrm>
                <a:prstGeom prst="rect">
                  <a:avLst/>
                </a:prstGeom>
                <a:ln w="12700">
                  <a:solidFill>
                    <a:schemeClr val="bg1"/>
                  </a:solidFill>
                </a:ln>
                <a:effectLst/>
              </p:spPr>
            </p:pic>
            <p:pic>
              <p:nvPicPr>
                <p:cNvPr id="14" name="Grafik 13" descr="Ein Bild, das Elektronisches Gerät, Gerät, Elektronik, Multimedia enthält.&#10;&#10;KI-generierte Inhalte können fehlerhaft sein.">
                  <a:extLst>
                    <a:ext uri="{FF2B5EF4-FFF2-40B4-BE49-F238E27FC236}">
                      <a16:creationId xmlns:a16="http://schemas.microsoft.com/office/drawing/2014/main" id="{E2570CAF-AD66-4AB0-8E65-CF829AA89CA6}"/>
                    </a:ext>
                  </a:extLst>
                </p:cNvPr>
                <p:cNvPicPr>
                  <a:picLocks noChangeAspect="1"/>
                </p:cNvPicPr>
                <p:nvPr/>
              </p:nvPicPr>
              <p:blipFill>
                <a:blip r:embed="rId8">
                  <a:extLst>
                    <a:ext uri="{28A0092B-C50C-407E-A947-70E740481C1C}">
                      <a14:useLocalDpi xmlns:a14="http://schemas.microsoft.com/office/drawing/2010/main" val="0"/>
                    </a:ext>
                  </a:extLst>
                </a:blip>
                <a:srcRect l="34370" t="27234" r="30843" b="28918"/>
                <a:stretch/>
              </p:blipFill>
              <p:spPr>
                <a:xfrm>
                  <a:off x="6657166" y="2078426"/>
                  <a:ext cx="1852271" cy="1761416"/>
                </a:xfrm>
                <a:prstGeom prst="rect">
                  <a:avLst/>
                </a:prstGeom>
                <a:ln w="28575">
                  <a:solidFill>
                    <a:schemeClr val="bg1"/>
                  </a:solidFill>
                </a:ln>
                <a:effectLst/>
              </p:spPr>
            </p:pic>
            <p:pic>
              <p:nvPicPr>
                <p:cNvPr id="15" name="Picture 2" descr="A blue butterfly with black wings&#10;&#10;KI-generierte Inhalte können fehlerhaft sein.">
                  <a:extLst>
                    <a:ext uri="{FF2B5EF4-FFF2-40B4-BE49-F238E27FC236}">
                      <a16:creationId xmlns:a16="http://schemas.microsoft.com/office/drawing/2014/main" id="{6EC0A8A0-C0C9-073E-05D7-C4BE81ED94AA}"/>
                    </a:ext>
                  </a:extLst>
                </p:cNvPr>
                <p:cNvPicPr>
                  <a:picLocks noChangeAspect="1"/>
                </p:cNvPicPr>
                <p:nvPr/>
              </p:nvPicPr>
              <p:blipFill>
                <a:blip r:embed="rId9"/>
                <a:srcRect l="1810" r="754"/>
                <a:stretch/>
              </p:blipFill>
              <p:spPr>
                <a:xfrm>
                  <a:off x="9275447" y="429143"/>
                  <a:ext cx="2468510" cy="1621195"/>
                </a:xfrm>
                <a:prstGeom prst="rect">
                  <a:avLst/>
                </a:prstGeom>
                <a:ln>
                  <a:solidFill>
                    <a:schemeClr val="bg1"/>
                  </a:solidFill>
                </a:ln>
              </p:spPr>
            </p:pic>
          </p:grpSp>
        </p:grpSp>
      </p:grpSp>
      <p:sp>
        <p:nvSpPr>
          <p:cNvPr id="20" name="Foliennummernplatzhalter 19">
            <a:extLst>
              <a:ext uri="{FF2B5EF4-FFF2-40B4-BE49-F238E27FC236}">
                <a16:creationId xmlns:a16="http://schemas.microsoft.com/office/drawing/2014/main" id="{7C858670-19CB-BD05-FDEA-E81F81C1B88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2</a:t>
            </a:fld>
            <a:endParaRPr lang="de-DE"/>
          </a:p>
        </p:txBody>
      </p:sp>
    </p:spTree>
    <p:extLst>
      <p:ext uri="{BB962C8B-B14F-4D97-AF65-F5344CB8AC3E}">
        <p14:creationId xmlns:p14="http://schemas.microsoft.com/office/powerpoint/2010/main" val="1204950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932"/>
        <p:cNvGrpSpPr/>
        <p:nvPr/>
      </p:nvGrpSpPr>
      <p:grpSpPr>
        <a:xfrm>
          <a:off x="0" y="0"/>
          <a:ext cx="0" cy="0"/>
          <a:chOff x="0" y="0"/>
          <a:chExt cx="0" cy="0"/>
        </a:xfrm>
      </p:grpSpPr>
      <p:sp>
        <p:nvSpPr>
          <p:cNvPr id="1933" name="Google Shape;1933;g2a7f0bc11f4_0_36"/>
          <p:cNvSpPr txBox="1">
            <a:spLocks noGrp="1"/>
          </p:cNvSpPr>
          <p:nvPr>
            <p:ph type="title"/>
          </p:nvPr>
        </p:nvSpPr>
        <p:spPr>
          <a:xfrm>
            <a:off x="4951228" y="1991128"/>
            <a:ext cx="5865600" cy="4572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800"/>
              <a:buNone/>
            </a:pPr>
            <a:r>
              <a:rPr lang="de-DE" dirty="0"/>
              <a:t>Kreisläufe schließen</a:t>
            </a:r>
            <a:endParaRPr dirty="0"/>
          </a:p>
        </p:txBody>
      </p:sp>
      <p:sp>
        <p:nvSpPr>
          <p:cNvPr id="1934" name="Google Shape;1934;g2a7f0bc11f4_0_36"/>
          <p:cNvSpPr txBox="1"/>
          <p:nvPr/>
        </p:nvSpPr>
        <p:spPr>
          <a:xfrm>
            <a:off x="4875028" y="2734364"/>
            <a:ext cx="5793000" cy="1458831"/>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rPr>
              <a:t>Transformation von Lieferketten durch die Entwicklung von Produkten ausgelegt auf Langlebigkeit, Recycling und Demontage, um eine Kreislaufwirtschaft zu ermöglichen. </a:t>
            </a:r>
            <a:endParaRPr i="1" dirty="0">
              <a:solidFill>
                <a:schemeClr val="dk1"/>
              </a:solidFill>
            </a:endParaRPr>
          </a:p>
        </p:txBody>
      </p:sp>
      <p:pic>
        <p:nvPicPr>
          <p:cNvPr id="1935" name="Google Shape;1935;g2a7f0bc11f4_0_36"/>
          <p:cNvPicPr preferRelativeResize="0">
            <a:picLocks noChangeAspect="1"/>
          </p:cNvPicPr>
          <p:nvPr/>
        </p:nvPicPr>
        <p:blipFill>
          <a:blip r:embed="rId3">
            <a:alphaModFix/>
          </a:blip>
          <a:stretch>
            <a:fillRect/>
          </a:stretch>
        </p:blipFill>
        <p:spPr>
          <a:xfrm>
            <a:off x="2124515" y="337748"/>
            <a:ext cx="1929011" cy="6182503"/>
          </a:xfrm>
          <a:prstGeom prst="rect">
            <a:avLst/>
          </a:prstGeom>
          <a:noFill/>
          <a:ln>
            <a:noFill/>
          </a:ln>
        </p:spPr>
      </p:pic>
      <p:pic>
        <p:nvPicPr>
          <p:cNvPr id="2" name="Google Shape;1516;g291664d05b2_0_12">
            <a:extLst>
              <a:ext uri="{FF2B5EF4-FFF2-40B4-BE49-F238E27FC236}">
                <a16:creationId xmlns:a16="http://schemas.microsoft.com/office/drawing/2014/main" id="{AB8E025D-E175-491C-9A93-D020D3DCCF4B}"/>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2B34174E-2E04-382B-FB85-EA5B5EDC573D}"/>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3</a:t>
            </a:fld>
            <a:endParaRPr lang="de-DE"/>
          </a:p>
        </p:txBody>
      </p:sp>
    </p:spTree>
    <p:extLst>
      <p:ext uri="{BB962C8B-B14F-4D97-AF65-F5344CB8AC3E}">
        <p14:creationId xmlns:p14="http://schemas.microsoft.com/office/powerpoint/2010/main" val="1189445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116"/>
        <p:cNvGrpSpPr/>
        <p:nvPr/>
      </p:nvGrpSpPr>
      <p:grpSpPr>
        <a:xfrm>
          <a:off x="0" y="0"/>
          <a:ext cx="0" cy="0"/>
          <a:chOff x="0" y="0"/>
          <a:chExt cx="0" cy="0"/>
        </a:xfrm>
      </p:grpSpPr>
      <p:sp>
        <p:nvSpPr>
          <p:cNvPr id="2119" name="Google Shape;2119;g2a7f0bc11f4_0_27"/>
          <p:cNvSpPr txBox="1">
            <a:spLocks noGrp="1"/>
          </p:cNvSpPr>
          <p:nvPr>
            <p:ph type="title"/>
          </p:nvPr>
        </p:nvSpPr>
        <p:spPr>
          <a:xfrm>
            <a:off x="5215180" y="2109303"/>
            <a:ext cx="5865600" cy="4572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800"/>
              <a:buNone/>
            </a:pPr>
            <a:r>
              <a:rPr lang="de-DE" dirty="0"/>
              <a:t>In Service umdenken</a:t>
            </a:r>
            <a:endParaRPr dirty="0"/>
          </a:p>
        </p:txBody>
      </p:sp>
      <p:sp>
        <p:nvSpPr>
          <p:cNvPr id="2120" name="Google Shape;2120;g2a7f0bc11f4_0_27"/>
          <p:cNvSpPr txBox="1"/>
          <p:nvPr/>
        </p:nvSpPr>
        <p:spPr>
          <a:xfrm>
            <a:off x="5138980" y="2852539"/>
            <a:ext cx="5793000" cy="1140282"/>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rPr>
              <a:t>Entkopplung des Wirtschaftswachstums vom Ressourcenverbrauch durch die Entwicklung </a:t>
            </a:r>
            <a:br>
              <a:rPr lang="de-DE" i="1" dirty="0">
                <a:solidFill>
                  <a:schemeClr val="dk1"/>
                </a:solidFill>
              </a:rPr>
            </a:br>
            <a:r>
              <a:rPr lang="de-DE" i="1" dirty="0">
                <a:solidFill>
                  <a:schemeClr val="dk1"/>
                </a:solidFill>
              </a:rPr>
              <a:t>neuer Geschäftsmodelle und Dienstleistungen.</a:t>
            </a:r>
            <a:endParaRPr i="1" dirty="0">
              <a:solidFill>
                <a:schemeClr val="dk1"/>
              </a:solidFill>
            </a:endParaRPr>
          </a:p>
        </p:txBody>
      </p:sp>
      <p:pic>
        <p:nvPicPr>
          <p:cNvPr id="2121" name="Google Shape;2121;g2a7f0bc11f4_0_27"/>
          <p:cNvPicPr preferRelativeResize="0">
            <a:picLocks noChangeAspect="1"/>
          </p:cNvPicPr>
          <p:nvPr/>
        </p:nvPicPr>
        <p:blipFill>
          <a:blip r:embed="rId3">
            <a:alphaModFix/>
          </a:blip>
          <a:stretch>
            <a:fillRect/>
          </a:stretch>
        </p:blipFill>
        <p:spPr>
          <a:xfrm>
            <a:off x="2048631" y="308215"/>
            <a:ext cx="2627064" cy="6241569"/>
          </a:xfrm>
          <a:prstGeom prst="rect">
            <a:avLst/>
          </a:prstGeom>
          <a:noFill/>
          <a:ln>
            <a:noFill/>
          </a:ln>
        </p:spPr>
      </p:pic>
      <p:pic>
        <p:nvPicPr>
          <p:cNvPr id="2" name="Google Shape;1516;g291664d05b2_0_12">
            <a:extLst>
              <a:ext uri="{FF2B5EF4-FFF2-40B4-BE49-F238E27FC236}">
                <a16:creationId xmlns:a16="http://schemas.microsoft.com/office/drawing/2014/main" id="{A0785265-31B1-7741-DBF2-C5E5472BA6DC}"/>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56E02312-FCF6-79DF-3694-264E2A364075}"/>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4</a:t>
            </a:fld>
            <a:endParaRPr lang="de-DE"/>
          </a:p>
        </p:txBody>
      </p:sp>
    </p:spTree>
    <p:extLst>
      <p:ext uri="{BB962C8B-B14F-4D97-AF65-F5344CB8AC3E}">
        <p14:creationId xmlns:p14="http://schemas.microsoft.com/office/powerpoint/2010/main" val="24523788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202"/>
        <p:cNvGrpSpPr/>
        <p:nvPr/>
      </p:nvGrpSpPr>
      <p:grpSpPr>
        <a:xfrm>
          <a:off x="0" y="0"/>
          <a:ext cx="0" cy="0"/>
          <a:chOff x="0" y="0"/>
          <a:chExt cx="0" cy="0"/>
        </a:xfrm>
      </p:grpSpPr>
      <p:sp>
        <p:nvSpPr>
          <p:cNvPr id="2205" name="Google Shape;2205;g28c66a67f99_0_3382"/>
          <p:cNvSpPr txBox="1"/>
          <p:nvPr/>
        </p:nvSpPr>
        <p:spPr>
          <a:xfrm>
            <a:off x="5358875" y="1843125"/>
            <a:ext cx="6315000" cy="2477601"/>
          </a:xfrm>
          <a:prstGeom prst="rect">
            <a:avLst/>
          </a:prstGeom>
          <a:noFill/>
          <a:ln>
            <a:noFill/>
          </a:ln>
        </p:spPr>
        <p:txBody>
          <a:bodyPr spcFirstLastPara="1" wrap="square" lIns="0" tIns="0" rIns="0" bIns="0" anchor="t" anchorCtr="0">
            <a:spAutoFit/>
          </a:bodyPr>
          <a:lstStyle/>
          <a:p>
            <a:pPr lvl="0">
              <a:lnSpc>
                <a:spcPct val="115000"/>
              </a:lnSpc>
              <a:buClr>
                <a:schemeClr val="dk1"/>
              </a:buClr>
              <a:buSzPts val="1100"/>
            </a:pPr>
            <a:r>
              <a:rPr lang="de-DE" i="1">
                <a:solidFill>
                  <a:schemeClr val="dk1"/>
                </a:solidFill>
              </a:rPr>
              <a:t>“Aufregende Neuigkeiten! Wir bieten jetzt nachhaltige Kfz-Versicherungsprodukte an, bei denen umweltfreundliche Reparaturen im Vordergrund stehen. In der Vergangenheit war es eine Herausforderung, den richtigen Karosseriebaupartner zu finden, aber ein neuer Zertifizierungsprozess hat die Spielregeln verändert. Karosseriewerkstätten bemühen sich aktiv um diese Zertifizierung, was meine Arbeit einfacher und angenehmer macht. Dank einer intelligenten Datenbank kann ich mühelos Partner auswählen, die unser Engagement für ökologische Nachhaltigkeit teilen.” </a:t>
            </a:r>
            <a:endParaRPr i="1">
              <a:solidFill>
                <a:schemeClr val="dk1"/>
              </a:solidFill>
            </a:endParaRPr>
          </a:p>
          <a:p>
            <a:pPr marL="0" marR="0" lvl="0" indent="0" algn="l" rtl="0">
              <a:lnSpc>
                <a:spcPct val="115000"/>
              </a:lnSpc>
              <a:spcBef>
                <a:spcPts val="0"/>
              </a:spcBef>
              <a:spcAft>
                <a:spcPts val="0"/>
              </a:spcAft>
              <a:buClr>
                <a:schemeClr val="dk1"/>
              </a:buClr>
              <a:buSzPts val="1100"/>
              <a:buFont typeface="Arial"/>
              <a:buNone/>
            </a:pPr>
            <a:endParaRPr i="1">
              <a:solidFill>
                <a:schemeClr val="dk1"/>
              </a:solidFill>
            </a:endParaRPr>
          </a:p>
          <a:p>
            <a:pPr marL="0" marR="0" lvl="0" indent="0" algn="l" rtl="0">
              <a:lnSpc>
                <a:spcPct val="115000"/>
              </a:lnSpc>
              <a:spcBef>
                <a:spcPts val="0"/>
              </a:spcBef>
              <a:spcAft>
                <a:spcPts val="0"/>
              </a:spcAft>
              <a:buClr>
                <a:schemeClr val="dk1"/>
              </a:buClr>
              <a:buSzPts val="1100"/>
              <a:buFont typeface="Arial"/>
              <a:buNone/>
            </a:pPr>
            <a:endParaRPr i="1">
              <a:solidFill>
                <a:schemeClr val="dk1"/>
              </a:solidFill>
            </a:endParaRPr>
          </a:p>
        </p:txBody>
      </p:sp>
      <p:sp>
        <p:nvSpPr>
          <p:cNvPr id="2206" name="Google Shape;2206;g28c66a67f99_0_3382"/>
          <p:cNvSpPr txBox="1"/>
          <p:nvPr/>
        </p:nvSpPr>
        <p:spPr>
          <a:xfrm>
            <a:off x="5358875" y="5662475"/>
            <a:ext cx="5285400" cy="215400"/>
          </a:xfrm>
          <a:prstGeom prst="rect">
            <a:avLst/>
          </a:prstGeom>
          <a:noFill/>
          <a:ln>
            <a:noFill/>
          </a:ln>
        </p:spPr>
        <p:txBody>
          <a:bodyPr spcFirstLastPara="1" wrap="square" lIns="0" tIns="0" rIns="0" bIns="0" anchor="t" anchorCtr="0">
            <a:spAutoFit/>
          </a:bodyPr>
          <a:lstStyle/>
          <a:p>
            <a:pPr lvl="0">
              <a:buSzPts val="1100"/>
            </a:pPr>
            <a:r>
              <a:rPr lang="de-DE" b="1" i="1" dirty="0">
                <a:solidFill>
                  <a:srgbClr val="C60022"/>
                </a:solidFill>
              </a:rPr>
              <a:t>Sarah, Versicherungsfachfrau</a:t>
            </a:r>
            <a:endParaRPr b="1" i="1" dirty="0">
              <a:solidFill>
                <a:srgbClr val="C60022"/>
              </a:solidFill>
            </a:endParaRPr>
          </a:p>
        </p:txBody>
      </p:sp>
      <p:sp>
        <p:nvSpPr>
          <p:cNvPr id="2207" name="Google Shape;2207;g28c66a67f99_0_3382"/>
          <p:cNvSpPr txBox="1">
            <a:spLocks noGrp="1"/>
          </p:cNvSpPr>
          <p:nvPr>
            <p:ph type="title"/>
          </p:nvPr>
        </p:nvSpPr>
        <p:spPr>
          <a:xfrm>
            <a:off x="5358875" y="1087825"/>
            <a:ext cx="6315000" cy="451800"/>
          </a:xfrm>
          <a:prstGeom prst="rect">
            <a:avLst/>
          </a:prstGeom>
          <a:noFill/>
          <a:ln>
            <a:noFill/>
          </a:ln>
        </p:spPr>
        <p:txBody>
          <a:bodyPr spcFirstLastPara="1" wrap="square" lIns="0" tIns="0" rIns="0" bIns="0" anchor="t" anchorCtr="0">
            <a:noAutofit/>
          </a:bodyPr>
          <a:lstStyle/>
          <a:p>
            <a:pPr lvl="0">
              <a:spcBef>
                <a:spcPts val="0"/>
              </a:spcBef>
              <a:buClr>
                <a:schemeClr val="dk1"/>
              </a:buClr>
              <a:buSzPts val="1100"/>
            </a:pPr>
            <a:r>
              <a:rPr lang="de-DE" dirty="0"/>
              <a:t>Nachhaltigkeits-Zertifizierung</a:t>
            </a:r>
            <a:endParaRPr dirty="0"/>
          </a:p>
        </p:txBody>
      </p:sp>
      <p:pic>
        <p:nvPicPr>
          <p:cNvPr id="2" name="Google Shape;2212;g28c66a67f99_0_3382">
            <a:extLst>
              <a:ext uri="{FF2B5EF4-FFF2-40B4-BE49-F238E27FC236}">
                <a16:creationId xmlns:a16="http://schemas.microsoft.com/office/drawing/2014/main" id="{6EDE0B9A-2EA7-16D5-6291-0189037E3917}"/>
              </a:ext>
            </a:extLst>
          </p:cNvPr>
          <p:cNvPicPr preferRelativeResize="0">
            <a:picLocks noChangeAspect="1"/>
          </p:cNvPicPr>
          <p:nvPr/>
        </p:nvPicPr>
        <p:blipFill rotWithShape="1">
          <a:blip r:embed="rId3">
            <a:alphaModFix/>
          </a:blip>
          <a:srcRect t="-14484" b="-14613"/>
          <a:stretch/>
        </p:blipFill>
        <p:spPr>
          <a:xfrm>
            <a:off x="1293395" y="1130947"/>
            <a:ext cx="3193763" cy="4746935"/>
          </a:xfrm>
          <a:prstGeom prst="rect">
            <a:avLst/>
          </a:prstGeom>
          <a:noFill/>
          <a:ln>
            <a:noFill/>
          </a:ln>
        </p:spPr>
      </p:pic>
      <p:pic>
        <p:nvPicPr>
          <p:cNvPr id="3" name="Google Shape;1516;g291664d05b2_0_12">
            <a:extLst>
              <a:ext uri="{FF2B5EF4-FFF2-40B4-BE49-F238E27FC236}">
                <a16:creationId xmlns:a16="http://schemas.microsoft.com/office/drawing/2014/main" id="{EBA880A1-B0B0-9BCE-E785-85740CE65D5D}"/>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4" name="Foliennummernplatzhalter 3">
            <a:extLst>
              <a:ext uri="{FF2B5EF4-FFF2-40B4-BE49-F238E27FC236}">
                <a16:creationId xmlns:a16="http://schemas.microsoft.com/office/drawing/2014/main" id="{A123EED1-8DE6-311E-8320-260DA532BC74}"/>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5</a:t>
            </a:fld>
            <a:endParaRPr lang="de-DE"/>
          </a:p>
        </p:txBody>
      </p:sp>
    </p:spTree>
    <p:extLst>
      <p:ext uri="{BB962C8B-B14F-4D97-AF65-F5344CB8AC3E}">
        <p14:creationId xmlns:p14="http://schemas.microsoft.com/office/powerpoint/2010/main" val="21322602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202">
          <a:extLst>
            <a:ext uri="{FF2B5EF4-FFF2-40B4-BE49-F238E27FC236}">
              <a16:creationId xmlns:a16="http://schemas.microsoft.com/office/drawing/2014/main" id="{A42C32A5-9053-FACF-E57D-9C7344AB2DF2}"/>
            </a:ext>
          </a:extLst>
        </p:cNvPr>
        <p:cNvGrpSpPr/>
        <p:nvPr/>
      </p:nvGrpSpPr>
      <p:grpSpPr>
        <a:xfrm>
          <a:off x="0" y="0"/>
          <a:ext cx="0" cy="0"/>
          <a:chOff x="0" y="0"/>
          <a:chExt cx="0" cy="0"/>
        </a:xfrm>
      </p:grpSpPr>
      <p:pic>
        <p:nvPicPr>
          <p:cNvPr id="2212" name="Google Shape;2212;g28c66a67f99_0_3382">
            <a:extLst>
              <a:ext uri="{FF2B5EF4-FFF2-40B4-BE49-F238E27FC236}">
                <a16:creationId xmlns:a16="http://schemas.microsoft.com/office/drawing/2014/main" id="{CBBC129D-ABB6-6CAC-E04E-28BEC07933CA}"/>
              </a:ext>
            </a:extLst>
          </p:cNvPr>
          <p:cNvPicPr preferRelativeResize="0">
            <a:picLocks noChangeAspect="1"/>
          </p:cNvPicPr>
          <p:nvPr/>
        </p:nvPicPr>
        <p:blipFill rotWithShape="1">
          <a:blip r:embed="rId3">
            <a:alphaModFix/>
          </a:blip>
          <a:srcRect t="-14484" b="-14613"/>
          <a:stretch/>
        </p:blipFill>
        <p:spPr>
          <a:xfrm>
            <a:off x="1293395" y="1130947"/>
            <a:ext cx="3193763" cy="4746935"/>
          </a:xfrm>
          <a:prstGeom prst="rect">
            <a:avLst/>
          </a:prstGeom>
          <a:noFill/>
          <a:ln>
            <a:noFill/>
          </a:ln>
        </p:spPr>
      </p:pic>
      <p:sp>
        <p:nvSpPr>
          <p:cNvPr id="3" name="Titel 2">
            <a:extLst>
              <a:ext uri="{FF2B5EF4-FFF2-40B4-BE49-F238E27FC236}">
                <a16:creationId xmlns:a16="http://schemas.microsoft.com/office/drawing/2014/main" id="{0E0C9B0D-8BFA-61D9-5D2C-8241D6333DFF}"/>
              </a:ext>
            </a:extLst>
          </p:cNvPr>
          <p:cNvSpPr>
            <a:spLocks noGrp="1"/>
          </p:cNvSpPr>
          <p:nvPr>
            <p:ph type="title"/>
          </p:nvPr>
        </p:nvSpPr>
        <p:spPr>
          <a:xfrm>
            <a:off x="141402" y="432000"/>
            <a:ext cx="5954598" cy="853200"/>
          </a:xfrm>
        </p:spPr>
        <p:txBody>
          <a:bodyPr/>
          <a:lstStyle/>
          <a:p>
            <a:pPr algn="ctr"/>
            <a:r>
              <a:rPr lang="de-DE" dirty="0"/>
              <a:t>Nachhaltigkeits-Zertifizierung</a:t>
            </a:r>
            <a:br>
              <a:rPr lang="de-DE" dirty="0"/>
            </a:br>
            <a:r>
              <a:rPr lang="de-DE" sz="2400" b="0" dirty="0"/>
              <a:t>Digitales Tool zur Bewertung &amp; Optimierung</a:t>
            </a:r>
            <a:endParaRPr lang="de-DE" b="0" dirty="0"/>
          </a:p>
        </p:txBody>
      </p:sp>
      <p:pic>
        <p:nvPicPr>
          <p:cNvPr id="7" name="Google Shape;1516;g291664d05b2_0_12">
            <a:extLst>
              <a:ext uri="{FF2B5EF4-FFF2-40B4-BE49-F238E27FC236}">
                <a16:creationId xmlns:a16="http://schemas.microsoft.com/office/drawing/2014/main" id="{A5DA7EA0-0F6D-4F9A-F43A-2FCF0BCC0018}"/>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grpSp>
        <p:nvGrpSpPr>
          <p:cNvPr id="9" name="Gruppieren 8">
            <a:extLst>
              <a:ext uri="{FF2B5EF4-FFF2-40B4-BE49-F238E27FC236}">
                <a16:creationId xmlns:a16="http://schemas.microsoft.com/office/drawing/2014/main" id="{42B646FD-1C76-1E53-B930-8D48F508B402}"/>
              </a:ext>
            </a:extLst>
          </p:cNvPr>
          <p:cNvGrpSpPr/>
          <p:nvPr/>
        </p:nvGrpSpPr>
        <p:grpSpPr>
          <a:xfrm>
            <a:off x="6096000" y="0"/>
            <a:ext cx="6096000" cy="6858000"/>
            <a:chOff x="6096000" y="0"/>
            <a:chExt cx="6096000" cy="6858000"/>
          </a:xfrm>
        </p:grpSpPr>
        <p:sp>
          <p:nvSpPr>
            <p:cNvPr id="5" name="Rechteck 4">
              <a:extLst>
                <a:ext uri="{FF2B5EF4-FFF2-40B4-BE49-F238E27FC236}">
                  <a16:creationId xmlns:a16="http://schemas.microsoft.com/office/drawing/2014/main" id="{A852181D-E474-CCFB-654F-F9B64266FE1A}"/>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A2422A21-65D2-5A45-BE58-96EC7186871C}"/>
                </a:ext>
              </a:extLst>
            </p:cNvPr>
            <p:cNvPicPr>
              <a:picLocks noChangeAspect="1"/>
            </p:cNvPicPr>
            <p:nvPr/>
          </p:nvPicPr>
          <p:blipFill>
            <a:blip r:embed="rId5"/>
            <a:srcRect l="1549" t="2477" r="1712" b="2517"/>
            <a:stretch/>
          </p:blipFill>
          <p:spPr>
            <a:xfrm>
              <a:off x="7183224" y="886120"/>
              <a:ext cx="3893271" cy="2846894"/>
            </a:xfrm>
            <a:prstGeom prst="rect">
              <a:avLst/>
            </a:prstGeom>
            <a:ln w="57150">
              <a:solidFill>
                <a:srgbClr val="C50022"/>
              </a:solidFill>
            </a:ln>
          </p:spPr>
        </p:pic>
        <p:sp>
          <p:nvSpPr>
            <p:cNvPr id="8" name="Textplatzhalter 2">
              <a:extLst>
                <a:ext uri="{FF2B5EF4-FFF2-40B4-BE49-F238E27FC236}">
                  <a16:creationId xmlns:a16="http://schemas.microsoft.com/office/drawing/2014/main" id="{0903339D-57FE-A134-916C-9F47BBFF3B54}"/>
                </a:ext>
              </a:extLst>
            </p:cNvPr>
            <p:cNvSpPr txBox="1">
              <a:spLocks/>
            </p:cNvSpPr>
            <p:nvPr/>
          </p:nvSpPr>
          <p:spPr>
            <a:xfrm>
              <a:off x="6882025" y="4531167"/>
              <a:ext cx="5149850" cy="2122458"/>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266700" lvl="0" indent="-266700">
                <a:buClr>
                  <a:srgbClr val="C50022"/>
                </a:buClr>
              </a:pPr>
              <a:r>
                <a:rPr lang="en-US" sz="1400" dirty="0" err="1"/>
                <a:t>Digitales</a:t>
              </a:r>
              <a:r>
                <a:rPr lang="en-US" sz="1400" dirty="0"/>
                <a:t> Tool </a:t>
              </a:r>
              <a:r>
                <a:rPr lang="en-US" sz="1800" b="1" dirty="0" err="1"/>
                <a:t>EcoImpact</a:t>
              </a:r>
              <a:r>
                <a:rPr lang="en-US" sz="1800" b="1" dirty="0"/>
                <a:t> Assessment</a:t>
              </a:r>
            </a:p>
            <a:p>
              <a:pPr marL="266700" lvl="0" indent="-266700">
                <a:buClr>
                  <a:srgbClr val="C50022"/>
                </a:buClr>
              </a:pPr>
              <a:r>
                <a:rPr lang="en-US" sz="1400" dirty="0" err="1"/>
                <a:t>Analyse</a:t>
              </a:r>
              <a:r>
                <a:rPr lang="en-US" sz="1400" dirty="0"/>
                <a:t> </a:t>
              </a:r>
              <a:r>
                <a:rPr lang="en-US" sz="1400" dirty="0" err="1"/>
                <a:t>durch</a:t>
              </a:r>
              <a:r>
                <a:rPr lang="en-US" sz="1400" dirty="0"/>
                <a:t> </a:t>
              </a:r>
              <a:r>
                <a:rPr lang="en-US" sz="1400" dirty="0" err="1"/>
                <a:t>technischen</a:t>
              </a:r>
              <a:r>
                <a:rPr lang="en-US" sz="1400" dirty="0"/>
                <a:t> </a:t>
              </a:r>
              <a:r>
                <a:rPr lang="en-US" sz="1400" dirty="0" err="1"/>
                <a:t>Experten</a:t>
              </a:r>
              <a:r>
                <a:rPr lang="en-US" sz="1400" dirty="0"/>
                <a:t> </a:t>
              </a:r>
              <a:r>
                <a:rPr lang="en-US" sz="1400" dirty="0" err="1"/>
                <a:t>vor</a:t>
              </a:r>
              <a:r>
                <a:rPr lang="en-US" sz="1400" dirty="0"/>
                <a:t> Ort</a:t>
              </a:r>
            </a:p>
            <a:p>
              <a:pPr marL="550175" lvl="1" indent="-266700">
                <a:buClr>
                  <a:srgbClr val="C50022"/>
                </a:buClr>
              </a:pPr>
              <a:r>
                <a:rPr lang="en-US" sz="1400" dirty="0" err="1"/>
                <a:t>Aufnahme</a:t>
              </a:r>
              <a:r>
                <a:rPr lang="en-US" sz="1400" dirty="0"/>
                <a:t> von </a:t>
              </a:r>
              <a:r>
                <a:rPr lang="en-US" sz="1400" dirty="0" err="1"/>
                <a:t>Umweltdaten</a:t>
              </a:r>
              <a:r>
                <a:rPr lang="en-US" sz="1400" dirty="0"/>
                <a:t> und -</a:t>
              </a:r>
              <a:r>
                <a:rPr lang="en-US" sz="1400" dirty="0" err="1"/>
                <a:t>verbräuchen</a:t>
              </a:r>
              <a:endParaRPr lang="en-US" sz="1400" dirty="0"/>
            </a:p>
            <a:p>
              <a:pPr marL="550175" lvl="1" indent="-266700">
                <a:buClr>
                  <a:srgbClr val="C50022"/>
                </a:buClr>
              </a:pPr>
              <a:r>
                <a:rPr lang="en-US" sz="1400" dirty="0"/>
                <a:t>LCA-</a:t>
              </a:r>
              <a:r>
                <a:rPr lang="en-US" sz="1400" dirty="0" err="1"/>
                <a:t>Methodik</a:t>
              </a:r>
              <a:r>
                <a:rPr lang="en-US" sz="1400" dirty="0"/>
                <a:t> </a:t>
              </a:r>
              <a:r>
                <a:rPr lang="en-US" sz="1400" dirty="0" err="1"/>
                <a:t>branchenspezifisch</a:t>
              </a:r>
              <a:r>
                <a:rPr lang="en-US" sz="1400" dirty="0"/>
                <a:t> </a:t>
              </a:r>
              <a:r>
                <a:rPr lang="en-US" sz="1400" dirty="0" err="1"/>
                <a:t>angewandt</a:t>
              </a:r>
              <a:endParaRPr lang="en-US" sz="1400" dirty="0"/>
            </a:p>
            <a:p>
              <a:pPr marL="550175" lvl="1" indent="-266700">
                <a:buClr>
                  <a:srgbClr val="C50022"/>
                </a:buClr>
              </a:pPr>
              <a:r>
                <a:rPr lang="en-US" sz="1400" dirty="0" err="1"/>
                <a:t>Berechnung</a:t>
              </a:r>
              <a:r>
                <a:rPr lang="en-US" sz="1400" dirty="0"/>
                <a:t> der </a:t>
              </a:r>
              <a:r>
                <a:rPr lang="en-US" sz="1400" dirty="0" err="1"/>
                <a:t>direkten</a:t>
              </a:r>
              <a:r>
                <a:rPr lang="en-US" sz="1400" dirty="0"/>
                <a:t> und </a:t>
              </a:r>
              <a:r>
                <a:rPr lang="en-US" sz="1400" dirty="0" err="1"/>
                <a:t>indirekten</a:t>
              </a:r>
              <a:r>
                <a:rPr lang="en-US" sz="1400" dirty="0"/>
                <a:t> CO</a:t>
              </a:r>
              <a:r>
                <a:rPr lang="en-US" sz="1400" baseline="-25000" dirty="0"/>
                <a:t>2</a:t>
              </a:r>
              <a:r>
                <a:rPr lang="en-US" sz="1400" dirty="0"/>
                <a:t>-Emissionen </a:t>
              </a:r>
            </a:p>
            <a:p>
              <a:pPr marL="266700" indent="-266700">
                <a:buClr>
                  <a:srgbClr val="C50022"/>
                </a:buClr>
              </a:pPr>
              <a:r>
                <a:rPr lang="en-US" sz="1400" dirty="0"/>
                <a:t>Benchmarking und </a:t>
              </a:r>
              <a:r>
                <a:rPr lang="en-US" sz="1400" dirty="0" err="1"/>
                <a:t>Aufzeigen</a:t>
              </a:r>
              <a:r>
                <a:rPr lang="en-US" sz="1400" dirty="0"/>
                <a:t> von </a:t>
              </a:r>
              <a:r>
                <a:rPr lang="en-US" sz="1400" dirty="0" err="1"/>
                <a:t>Verbesserungspotenzialen</a:t>
              </a:r>
              <a:endParaRPr lang="en-US" sz="1400" dirty="0"/>
            </a:p>
            <a:p>
              <a:pPr marL="550175" lvl="1" indent="-266700"/>
              <a:endParaRPr lang="en-US" sz="1400" dirty="0"/>
            </a:p>
          </p:txBody>
        </p:sp>
      </p:grpSp>
      <p:sp>
        <p:nvSpPr>
          <p:cNvPr id="10" name="Foliennummernplatzhalter 9">
            <a:extLst>
              <a:ext uri="{FF2B5EF4-FFF2-40B4-BE49-F238E27FC236}">
                <a16:creationId xmlns:a16="http://schemas.microsoft.com/office/drawing/2014/main" id="{0917A7FA-96FA-0198-3469-8EB17F05764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6</a:t>
            </a:fld>
            <a:endParaRPr lang="de-DE"/>
          </a:p>
        </p:txBody>
      </p:sp>
    </p:spTree>
    <p:extLst>
      <p:ext uri="{BB962C8B-B14F-4D97-AF65-F5344CB8AC3E}">
        <p14:creationId xmlns:p14="http://schemas.microsoft.com/office/powerpoint/2010/main" val="2051984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613C8-64EC-AFAF-9D0B-4124182F5B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0F625-2778-5961-E499-B6C858182DB4}"/>
              </a:ext>
            </a:extLst>
          </p:cNvPr>
          <p:cNvSpPr>
            <a:spLocks noGrp="1"/>
          </p:cNvSpPr>
          <p:nvPr>
            <p:ph type="ctrTitle"/>
          </p:nvPr>
        </p:nvSpPr>
        <p:spPr/>
        <p:txBody>
          <a:bodyPr/>
          <a:lstStyle/>
          <a:p>
            <a:endParaRPr lang="en-HK"/>
          </a:p>
        </p:txBody>
      </p:sp>
      <p:sp>
        <p:nvSpPr>
          <p:cNvPr id="7" name="Foliennummernplatzhalter 6">
            <a:extLst>
              <a:ext uri="{FF2B5EF4-FFF2-40B4-BE49-F238E27FC236}">
                <a16:creationId xmlns:a16="http://schemas.microsoft.com/office/drawing/2014/main" id="{0B0B1D07-6E08-21CE-23EE-F2E29BC0989C}"/>
              </a:ext>
            </a:extLst>
          </p:cNvPr>
          <p:cNvSpPr>
            <a:spLocks noGrp="1"/>
          </p:cNvSpPr>
          <p:nvPr>
            <p:ph type="sldNum" sz="quarter" idx="4294967295"/>
          </p:nvPr>
        </p:nvSpPr>
        <p:spPr>
          <a:xfrm>
            <a:off x="11644313" y="6443663"/>
            <a:ext cx="547687" cy="1809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EDC794-AD02-A846-A96D-D754342A6646}" type="slidenum">
              <a:rPr kumimoji="0" lang="en-GB" sz="900" b="0" i="0" u="none" strike="noStrike" kern="1200" cap="none" spc="0" normalizeH="0" baseline="0" noProof="0" smtClean="0">
                <a:ln>
                  <a:noFill/>
                </a:ln>
                <a:solidFill>
                  <a:srgbClr val="FFFFFF"/>
                </a:solidFill>
                <a:effectLst/>
                <a:uLnTx/>
                <a:uFillTx/>
                <a:latin typeface="DM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900" b="0" i="0" u="none" strike="noStrike" kern="1200" cap="none" spc="0" normalizeH="0" baseline="0" noProof="0">
              <a:ln>
                <a:noFill/>
              </a:ln>
              <a:solidFill>
                <a:srgbClr val="FFFFFF"/>
              </a:solidFill>
              <a:effectLst/>
              <a:uLnTx/>
              <a:uFillTx/>
              <a:latin typeface="DM Sans" pitchFamily="2" charset="77"/>
              <a:ea typeface="+mn-ea"/>
              <a:cs typeface="+mn-cs"/>
            </a:endParaRPr>
          </a:p>
        </p:txBody>
      </p:sp>
      <p:sp>
        <p:nvSpPr>
          <p:cNvPr id="43" name="Textfeld 42">
            <a:extLst>
              <a:ext uri="{FF2B5EF4-FFF2-40B4-BE49-F238E27FC236}">
                <a16:creationId xmlns:a16="http://schemas.microsoft.com/office/drawing/2014/main" id="{0A4F1260-3AD4-592A-72BC-844B1C07635B}"/>
              </a:ext>
            </a:extLst>
          </p:cNvPr>
          <p:cNvSpPr txBox="1"/>
          <p:nvPr/>
        </p:nvSpPr>
        <p:spPr>
          <a:xfrm>
            <a:off x="20946140" y="1137683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4248"/>
              </a:solidFill>
              <a:effectLst/>
              <a:uLnTx/>
              <a:uFillTx/>
              <a:latin typeface="DM Sans" pitchFamily="2" charset="77"/>
              <a:ea typeface="+mn-ea"/>
              <a:cs typeface="+mn-cs"/>
            </a:endParaRPr>
          </a:p>
        </p:txBody>
      </p:sp>
      <p:pic>
        <p:nvPicPr>
          <p:cNvPr id="32" name="Grafik 31">
            <a:extLst>
              <a:ext uri="{FF2B5EF4-FFF2-40B4-BE49-F238E27FC236}">
                <a16:creationId xmlns:a16="http://schemas.microsoft.com/office/drawing/2014/main" id="{D73ED8AB-5A06-4277-38AB-484E1E549F1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096273" y="655748"/>
            <a:ext cx="530595" cy="562272"/>
          </a:xfrm>
          <a:prstGeom prst="rect">
            <a:avLst/>
          </a:prstGeom>
        </p:spPr>
      </p:pic>
      <p:pic>
        <p:nvPicPr>
          <p:cNvPr id="4" name="Grafik 3">
            <a:extLst>
              <a:ext uri="{FF2B5EF4-FFF2-40B4-BE49-F238E27FC236}">
                <a16:creationId xmlns:a16="http://schemas.microsoft.com/office/drawing/2014/main" id="{AD8058B8-524F-E617-CF85-0C892B88B6E2}"/>
              </a:ext>
            </a:extLst>
          </p:cNvPr>
          <p:cNvPicPr>
            <a:picLocks noChangeAspect="1"/>
          </p:cNvPicPr>
          <p:nvPr/>
        </p:nvPicPr>
        <p:blipFill>
          <a:blip r:embed="rId5"/>
          <a:stretch>
            <a:fillRect/>
          </a:stretch>
        </p:blipFill>
        <p:spPr>
          <a:xfrm>
            <a:off x="544810" y="968883"/>
            <a:ext cx="3956070" cy="5637038"/>
          </a:xfrm>
          <a:prstGeom prst="rect">
            <a:avLst/>
          </a:prstGeom>
          <a:ln>
            <a:solidFill>
              <a:schemeClr val="bg1"/>
            </a:solidFill>
          </a:ln>
        </p:spPr>
      </p:pic>
      <p:pic>
        <p:nvPicPr>
          <p:cNvPr id="8" name="Grafik 7">
            <a:extLst>
              <a:ext uri="{FF2B5EF4-FFF2-40B4-BE49-F238E27FC236}">
                <a16:creationId xmlns:a16="http://schemas.microsoft.com/office/drawing/2014/main" id="{AB225C5C-5FE0-2DE1-5B04-70658BFE3BCC}"/>
              </a:ext>
            </a:extLst>
          </p:cNvPr>
          <p:cNvPicPr>
            <a:picLocks noChangeAspect="1"/>
          </p:cNvPicPr>
          <p:nvPr/>
        </p:nvPicPr>
        <p:blipFill>
          <a:blip r:embed="rId6"/>
          <a:stretch>
            <a:fillRect/>
          </a:stretch>
        </p:blipFill>
        <p:spPr>
          <a:xfrm>
            <a:off x="4640144" y="968883"/>
            <a:ext cx="3926438" cy="5637037"/>
          </a:xfrm>
          <a:prstGeom prst="rect">
            <a:avLst/>
          </a:prstGeom>
          <a:ln>
            <a:solidFill>
              <a:schemeClr val="bg1"/>
            </a:solidFill>
          </a:ln>
        </p:spPr>
      </p:pic>
      <p:pic>
        <p:nvPicPr>
          <p:cNvPr id="10" name="Grafik 9">
            <a:extLst>
              <a:ext uri="{FF2B5EF4-FFF2-40B4-BE49-F238E27FC236}">
                <a16:creationId xmlns:a16="http://schemas.microsoft.com/office/drawing/2014/main" id="{F62CC8B9-7320-CBBE-16D5-2879070B102B}"/>
              </a:ext>
            </a:extLst>
          </p:cNvPr>
          <p:cNvPicPr>
            <a:picLocks noChangeAspect="1"/>
          </p:cNvPicPr>
          <p:nvPr/>
        </p:nvPicPr>
        <p:blipFill>
          <a:blip r:embed="rId7"/>
          <a:stretch>
            <a:fillRect/>
          </a:stretch>
        </p:blipFill>
        <p:spPr>
          <a:xfrm>
            <a:off x="8780534" y="2294778"/>
            <a:ext cx="3035000" cy="4311142"/>
          </a:xfrm>
          <a:prstGeom prst="rect">
            <a:avLst/>
          </a:prstGeom>
          <a:ln>
            <a:solidFill>
              <a:schemeClr val="bg1"/>
            </a:solidFill>
          </a:ln>
        </p:spPr>
      </p:pic>
      <p:sp>
        <p:nvSpPr>
          <p:cNvPr id="11" name="Titel 6">
            <a:extLst>
              <a:ext uri="{FF2B5EF4-FFF2-40B4-BE49-F238E27FC236}">
                <a16:creationId xmlns:a16="http://schemas.microsoft.com/office/drawing/2014/main" id="{E3EA5C4B-9B69-858C-0369-902DE9611542}"/>
              </a:ext>
            </a:extLst>
          </p:cNvPr>
          <p:cNvSpPr txBox="1">
            <a:spLocks/>
          </p:cNvSpPr>
          <p:nvPr/>
        </p:nvSpPr>
        <p:spPr>
          <a:xfrm>
            <a:off x="544810" y="363093"/>
            <a:ext cx="10079979" cy="429387"/>
          </a:xfrm>
          <a:prstGeom prst="rect">
            <a:avLst/>
          </a:prstGeom>
        </p:spPr>
        <p:txBody>
          <a:bodyPr vert="horz" lIns="0" tIns="0" rIns="0" bIns="0" rtlCol="0" anchor="b" anchorCtr="0">
            <a:noAutofit/>
          </a:bodyPr>
          <a:lstStyle>
            <a:lvl1pPr algn="l" defTabSz="914400" rtl="0" eaLnBrk="1" latinLnBrk="0" hangingPunct="1">
              <a:lnSpc>
                <a:spcPct val="87000"/>
              </a:lnSpc>
              <a:spcBef>
                <a:spcPct val="0"/>
              </a:spcBef>
              <a:buNone/>
              <a:defRPr sz="2400" b="1" i="0" kern="1200" spc="-70" baseline="0">
                <a:solidFill>
                  <a:schemeClr val="bg1"/>
                </a:solidFill>
                <a:latin typeface="DM Sans" pitchFamily="2" charset="77"/>
                <a:ea typeface="+mj-ea"/>
                <a:cs typeface="+mj-cs"/>
              </a:defRPr>
            </a:lvl1pPr>
          </a:lstStyle>
          <a:p>
            <a:r>
              <a:rPr lang="de-DE" dirty="0"/>
              <a:t>Eco Impact Assessment – Digital Tool for </a:t>
            </a:r>
            <a:r>
              <a:rPr lang="de-DE" dirty="0" err="1"/>
              <a:t>Bodyshop</a:t>
            </a:r>
            <a:r>
              <a:rPr lang="de-DE" dirty="0"/>
              <a:t> Support</a:t>
            </a:r>
          </a:p>
        </p:txBody>
      </p:sp>
    </p:spTree>
    <p:extLst>
      <p:ext uri="{BB962C8B-B14F-4D97-AF65-F5344CB8AC3E}">
        <p14:creationId xmlns:p14="http://schemas.microsoft.com/office/powerpoint/2010/main" val="1061910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sp>
        <p:nvSpPr>
          <p:cNvPr id="2290" name="Google Shape;2290;g2a7f0bc11f4_0_45"/>
          <p:cNvSpPr txBox="1">
            <a:spLocks noGrp="1"/>
          </p:cNvSpPr>
          <p:nvPr>
            <p:ph type="title"/>
          </p:nvPr>
        </p:nvSpPr>
        <p:spPr>
          <a:xfrm>
            <a:off x="4932375" y="2377627"/>
            <a:ext cx="5865600" cy="457200"/>
          </a:xfrm>
          <a:prstGeom prst="rect">
            <a:avLst/>
          </a:prstGeom>
          <a:noFill/>
          <a:ln>
            <a:noFill/>
          </a:ln>
        </p:spPr>
        <p:txBody>
          <a:bodyPr spcFirstLastPara="1" wrap="square" lIns="0" tIns="0" rIns="0" bIns="0" anchor="t" anchorCtr="0">
            <a:noAutofit/>
          </a:bodyPr>
          <a:lstStyle/>
          <a:p>
            <a:pPr lvl="0">
              <a:spcBef>
                <a:spcPts val="0"/>
              </a:spcBef>
              <a:buSzPts val="2800"/>
            </a:pPr>
            <a:r>
              <a:rPr lang="de-DE" dirty="0"/>
              <a:t>Eine neue Welt</a:t>
            </a:r>
            <a:endParaRPr dirty="0"/>
          </a:p>
        </p:txBody>
      </p:sp>
      <p:sp>
        <p:nvSpPr>
          <p:cNvPr id="2291" name="Google Shape;2291;g2a7f0bc11f4_0_45"/>
          <p:cNvSpPr txBox="1"/>
          <p:nvPr/>
        </p:nvSpPr>
        <p:spPr>
          <a:xfrm>
            <a:off x="4856175" y="3120863"/>
            <a:ext cx="5793000" cy="1140282"/>
          </a:xfrm>
          <a:prstGeom prst="rect">
            <a:avLst/>
          </a:prstGeom>
          <a:noFill/>
          <a:ln>
            <a:noFill/>
          </a:ln>
        </p:spPr>
        <p:txBody>
          <a:bodyPr spcFirstLastPara="1" wrap="square" lIns="91425" tIns="91425" rIns="91425" bIns="91425" anchor="t" anchorCtr="0">
            <a:spAutoFit/>
          </a:bodyPr>
          <a:lstStyle/>
          <a:p>
            <a:pPr lvl="0">
              <a:lnSpc>
                <a:spcPct val="115000"/>
              </a:lnSpc>
            </a:pP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Mit intelligenten Oberflächenfunktionen, die </a:t>
            </a:r>
            <a:b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b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über Schutz und Dekoration hinausgehen, </a:t>
            </a:r>
            <a:b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b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zu einem nachhaltigen Wandel beitragen.</a:t>
            </a:r>
            <a:endParaRPr lang="de-DE" i="1" dirty="0">
              <a:solidFill>
                <a:schemeClr val="dk1"/>
              </a:solidFill>
            </a:endParaRPr>
          </a:p>
        </p:txBody>
      </p:sp>
      <p:pic>
        <p:nvPicPr>
          <p:cNvPr id="2292" name="Google Shape;2292;g2a7f0bc11f4_0_45"/>
          <p:cNvPicPr preferRelativeResize="0">
            <a:picLocks noChangeAspect="1"/>
          </p:cNvPicPr>
          <p:nvPr/>
        </p:nvPicPr>
        <p:blipFill>
          <a:blip r:embed="rId3">
            <a:alphaModFix/>
          </a:blip>
          <a:stretch>
            <a:fillRect/>
          </a:stretch>
        </p:blipFill>
        <p:spPr>
          <a:xfrm>
            <a:off x="2175051" y="685497"/>
            <a:ext cx="2330962" cy="5191243"/>
          </a:xfrm>
          <a:prstGeom prst="rect">
            <a:avLst/>
          </a:prstGeom>
          <a:noFill/>
          <a:ln>
            <a:noFill/>
          </a:ln>
        </p:spPr>
      </p:pic>
      <p:pic>
        <p:nvPicPr>
          <p:cNvPr id="2" name="Google Shape;1516;g291664d05b2_0_12">
            <a:extLst>
              <a:ext uri="{FF2B5EF4-FFF2-40B4-BE49-F238E27FC236}">
                <a16:creationId xmlns:a16="http://schemas.microsoft.com/office/drawing/2014/main" id="{ABD1C942-CA0C-5674-30D7-28CAAAF114F8}"/>
              </a:ext>
            </a:extLst>
          </p:cNvPr>
          <p:cNvPicPr>
            <a:picLocks noChangeAspect="1"/>
          </p:cNvPicPr>
          <p:nvPr/>
        </p:nvPicPr>
        <p:blipFill>
          <a:blip r:embed="rId4">
            <a:alphaModFix amt="35000"/>
          </a:blip>
          <a:stretch>
            <a:fillRect/>
          </a:stretch>
        </p:blipFill>
        <p:spPr>
          <a:xfrm>
            <a:off x="-702414" y="5084220"/>
            <a:ext cx="2417632" cy="2292501"/>
          </a:xfrm>
          <a:prstGeom prst="rect">
            <a:avLst/>
          </a:prstGeom>
          <a:noFill/>
          <a:ln>
            <a:noFill/>
          </a:ln>
        </p:spPr>
      </p:pic>
      <p:sp>
        <p:nvSpPr>
          <p:cNvPr id="3" name="Foliennummernplatzhalter 2">
            <a:extLst>
              <a:ext uri="{FF2B5EF4-FFF2-40B4-BE49-F238E27FC236}">
                <a16:creationId xmlns:a16="http://schemas.microsoft.com/office/drawing/2014/main" id="{BEE5668B-DD62-19A4-C0DE-D3CE78E1E79E}"/>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8</a:t>
            </a:fld>
            <a:endParaRPr lang="de-DE"/>
          </a:p>
        </p:txBody>
      </p:sp>
    </p:spTree>
    <p:extLst>
      <p:ext uri="{BB962C8B-B14F-4D97-AF65-F5344CB8AC3E}">
        <p14:creationId xmlns:p14="http://schemas.microsoft.com/office/powerpoint/2010/main" val="1111241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53">
          <a:extLst>
            <a:ext uri="{FF2B5EF4-FFF2-40B4-BE49-F238E27FC236}">
              <a16:creationId xmlns:a16="http://schemas.microsoft.com/office/drawing/2014/main" id="{B8440260-60BD-4543-5DB6-72558BB6C1BD}"/>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7EBA595E-EFBB-066A-DC65-1C5FC5C97C95}"/>
              </a:ext>
            </a:extLst>
          </p:cNvPr>
          <p:cNvSpPr>
            <a:spLocks noGrp="1"/>
          </p:cNvSpPr>
          <p:nvPr>
            <p:ph type="title"/>
          </p:nvPr>
        </p:nvSpPr>
        <p:spPr>
          <a:xfrm>
            <a:off x="219600" y="432000"/>
            <a:ext cx="5687994" cy="853200"/>
          </a:xfrm>
        </p:spPr>
        <p:txBody>
          <a:bodyPr/>
          <a:lstStyle/>
          <a:p>
            <a:pPr algn="ctr"/>
            <a:r>
              <a:rPr lang="de-DE" dirty="0"/>
              <a:t>Niedrigenergie-Geschwindigkeit</a:t>
            </a:r>
            <a:br>
              <a:rPr lang="de-DE" dirty="0"/>
            </a:br>
            <a:r>
              <a:rPr lang="de-DE" sz="2400" b="0" dirty="0"/>
              <a:t>Bionische Oberflächenstrukturen</a:t>
            </a:r>
            <a:endParaRPr lang="de-DE" b="0" dirty="0"/>
          </a:p>
        </p:txBody>
      </p:sp>
      <p:pic>
        <p:nvPicPr>
          <p:cNvPr id="7" name="Google Shape;1516;g291664d05b2_0_12">
            <a:extLst>
              <a:ext uri="{FF2B5EF4-FFF2-40B4-BE49-F238E27FC236}">
                <a16:creationId xmlns:a16="http://schemas.microsoft.com/office/drawing/2014/main" id="{2C4CE068-6CA5-FECB-6F3D-8B6D5D554238}"/>
              </a:ext>
            </a:extLst>
          </p:cNvPr>
          <p:cNvPicPr>
            <a:picLocks noChangeAspect="1"/>
          </p:cNvPicPr>
          <p:nvPr/>
        </p:nvPicPr>
        <p:blipFill>
          <a:blip r:embed="rId3">
            <a:alphaModFix amt="35000"/>
          </a:blip>
          <a:stretch>
            <a:fillRect/>
          </a:stretch>
        </p:blipFill>
        <p:spPr>
          <a:xfrm>
            <a:off x="-702414" y="5084220"/>
            <a:ext cx="2417632" cy="2292501"/>
          </a:xfrm>
          <a:prstGeom prst="rect">
            <a:avLst/>
          </a:prstGeom>
          <a:noFill/>
          <a:ln>
            <a:noFill/>
          </a:ln>
        </p:spPr>
      </p:pic>
      <p:sp>
        <p:nvSpPr>
          <p:cNvPr id="9" name="Google Shape;2291;g2a7f0bc11f4_0_45">
            <a:extLst>
              <a:ext uri="{FF2B5EF4-FFF2-40B4-BE49-F238E27FC236}">
                <a16:creationId xmlns:a16="http://schemas.microsoft.com/office/drawing/2014/main" id="{697CF1DE-1687-66D8-759A-95964F626D6F}"/>
              </a:ext>
            </a:extLst>
          </p:cNvPr>
          <p:cNvSpPr txBox="1"/>
          <p:nvPr/>
        </p:nvSpPr>
        <p:spPr>
          <a:xfrm>
            <a:off x="2089080" y="5090188"/>
            <a:ext cx="3818514" cy="1140282"/>
          </a:xfrm>
          <a:prstGeom prst="rect">
            <a:avLst/>
          </a:prstGeom>
          <a:noFill/>
          <a:ln>
            <a:noFill/>
          </a:ln>
        </p:spPr>
        <p:txBody>
          <a:bodyPr spcFirstLastPara="1" wrap="square" lIns="91425" tIns="91425" rIns="91425" bIns="91425" anchor="t" anchorCtr="0">
            <a:spAutoFit/>
          </a:bodyPr>
          <a:lstStyle/>
          <a:p>
            <a:pPr lvl="0" algn="r">
              <a:lnSpc>
                <a:spcPct val="115000"/>
              </a:lnSpc>
            </a:pP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Von der Natur lernen: </a:t>
            </a:r>
          </a:p>
          <a:p>
            <a:pPr lvl="0" algn="r">
              <a:lnSpc>
                <a:spcPct val="115000"/>
              </a:lnSpc>
            </a:pP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bionische Strukturen als Basis </a:t>
            </a:r>
          </a:p>
          <a:p>
            <a:pPr lvl="0" algn="r">
              <a:lnSpc>
                <a:spcPct val="115000"/>
              </a:lnSpc>
            </a:pPr>
            <a:r>
              <a:rPr lang="de-DE" i="1" dirty="0">
                <a:solidFill>
                  <a:schemeClr val="dk1"/>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der Haihaut-Technologie.</a:t>
            </a:r>
            <a:endParaRPr lang="de-DE" i="1" dirty="0">
              <a:solidFill>
                <a:schemeClr val="dk1"/>
              </a:solidFill>
            </a:endParaRPr>
          </a:p>
        </p:txBody>
      </p:sp>
      <p:pic>
        <p:nvPicPr>
          <p:cNvPr id="10" name="Google Shape;2359;g28c66a67f99_0_3536">
            <a:extLst>
              <a:ext uri="{FF2B5EF4-FFF2-40B4-BE49-F238E27FC236}">
                <a16:creationId xmlns:a16="http://schemas.microsoft.com/office/drawing/2014/main" id="{999D3D5D-9A11-6042-1755-6373E172F4A1}"/>
              </a:ext>
            </a:extLst>
          </p:cNvPr>
          <p:cNvPicPr preferRelativeResize="0">
            <a:picLocks noChangeAspect="1"/>
          </p:cNvPicPr>
          <p:nvPr/>
        </p:nvPicPr>
        <p:blipFill rotWithShape="1">
          <a:blip r:embed="rId4">
            <a:alphaModFix/>
          </a:blip>
          <a:srcRect t="-14484" b="-14613"/>
          <a:stretch/>
        </p:blipFill>
        <p:spPr>
          <a:xfrm>
            <a:off x="1078133" y="938314"/>
            <a:ext cx="3193330" cy="4746289"/>
          </a:xfrm>
          <a:prstGeom prst="rect">
            <a:avLst/>
          </a:prstGeom>
          <a:noFill/>
          <a:ln>
            <a:noFill/>
          </a:ln>
        </p:spPr>
      </p:pic>
      <p:grpSp>
        <p:nvGrpSpPr>
          <p:cNvPr id="12" name="Gruppieren 11">
            <a:extLst>
              <a:ext uri="{FF2B5EF4-FFF2-40B4-BE49-F238E27FC236}">
                <a16:creationId xmlns:a16="http://schemas.microsoft.com/office/drawing/2014/main" id="{129247EB-4E32-A0A9-1262-69449109AB90}"/>
              </a:ext>
            </a:extLst>
          </p:cNvPr>
          <p:cNvGrpSpPr/>
          <p:nvPr/>
        </p:nvGrpSpPr>
        <p:grpSpPr>
          <a:xfrm>
            <a:off x="6096000" y="0"/>
            <a:ext cx="6096000" cy="6858000"/>
            <a:chOff x="6096000" y="0"/>
            <a:chExt cx="6096000" cy="6858000"/>
          </a:xfrm>
        </p:grpSpPr>
        <p:sp>
          <p:nvSpPr>
            <p:cNvPr id="4" name="Rechteck 3">
              <a:extLst>
                <a:ext uri="{FF2B5EF4-FFF2-40B4-BE49-F238E27FC236}">
                  <a16:creationId xmlns:a16="http://schemas.microsoft.com/office/drawing/2014/main" id="{5D939817-C707-B6DE-5011-0D5BC7D4D559}"/>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19427AB1-578A-09BB-D020-0850B2A5CC7C}"/>
                </a:ext>
              </a:extLst>
            </p:cNvPr>
            <p:cNvPicPr>
              <a:picLocks noChangeAspect="1"/>
            </p:cNvPicPr>
            <p:nvPr/>
          </p:nvPicPr>
          <p:blipFill>
            <a:blip r:embed="rId5"/>
            <a:stretch>
              <a:fillRect/>
            </a:stretch>
          </p:blipFill>
          <p:spPr>
            <a:xfrm>
              <a:off x="7360297" y="288366"/>
              <a:ext cx="3623940" cy="4076933"/>
            </a:xfrm>
            <a:prstGeom prst="rect">
              <a:avLst/>
            </a:prstGeom>
            <a:ln>
              <a:noFill/>
            </a:ln>
          </p:spPr>
        </p:pic>
        <p:sp>
          <p:nvSpPr>
            <p:cNvPr id="6" name="Textplatzhalter 2">
              <a:extLst>
                <a:ext uri="{FF2B5EF4-FFF2-40B4-BE49-F238E27FC236}">
                  <a16:creationId xmlns:a16="http://schemas.microsoft.com/office/drawing/2014/main" id="{9E782D9E-EE78-371E-BF78-40420518A58B}"/>
                </a:ext>
              </a:extLst>
            </p:cNvPr>
            <p:cNvSpPr txBox="1">
              <a:spLocks/>
            </p:cNvSpPr>
            <p:nvPr/>
          </p:nvSpPr>
          <p:spPr>
            <a:xfrm>
              <a:off x="6569075" y="4550420"/>
              <a:ext cx="5149850" cy="2122458"/>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266700" lvl="0" indent="-266700"/>
              <a:r>
                <a:rPr lang="en-US" sz="1400" dirty="0" err="1"/>
                <a:t>Functionaler</a:t>
              </a:r>
              <a:r>
                <a:rPr lang="en-US" sz="1400" dirty="0"/>
                <a:t> Film </a:t>
              </a:r>
              <a:r>
                <a:rPr lang="en-US" sz="1800" b="1" dirty="0" err="1"/>
                <a:t>NovaFlex</a:t>
              </a:r>
              <a:r>
                <a:rPr lang="en-US" sz="1800" b="1" dirty="0"/>
                <a:t> </a:t>
              </a:r>
              <a:r>
                <a:rPr lang="en-US" sz="1800" b="1" dirty="0" err="1"/>
                <a:t>SharkSkin</a:t>
              </a:r>
              <a:endParaRPr lang="en-US" sz="1800" b="1" dirty="0"/>
            </a:p>
            <a:p>
              <a:pPr marL="266700" lvl="0" indent="-266700"/>
              <a:r>
                <a:rPr lang="en-US" sz="1400" dirty="0" err="1"/>
                <a:t>Oberflächenstruktur</a:t>
              </a:r>
              <a:endParaRPr lang="en-US" sz="1400" dirty="0"/>
            </a:p>
            <a:p>
              <a:pPr marL="550175" lvl="1" indent="-266700"/>
              <a:r>
                <a:rPr lang="en-US" sz="1400" dirty="0"/>
                <a:t>Riblets von ca. 50 </a:t>
              </a:r>
              <a:r>
                <a:rPr lang="en-US" sz="1400" dirty="0" err="1"/>
                <a:t>Mikrometern</a:t>
              </a:r>
              <a:endParaRPr lang="en-US" sz="1400" dirty="0"/>
            </a:p>
            <a:p>
              <a:pPr marL="550175" lvl="1" indent="-266700"/>
              <a:r>
                <a:rPr lang="en-US" sz="1400" dirty="0" err="1"/>
                <a:t>imitieren</a:t>
              </a:r>
              <a:r>
                <a:rPr lang="en-US" sz="1400" dirty="0"/>
                <a:t> die </a:t>
              </a:r>
              <a:r>
                <a:rPr lang="en-US" sz="1400" dirty="0" err="1"/>
                <a:t>Eigenschaften</a:t>
              </a:r>
              <a:r>
                <a:rPr lang="en-US" sz="1400" dirty="0"/>
                <a:t> von </a:t>
              </a:r>
              <a:r>
                <a:rPr lang="en-US" sz="1400" dirty="0" err="1"/>
                <a:t>Haihaut</a:t>
              </a:r>
              <a:endParaRPr lang="en-US" sz="1400" dirty="0"/>
            </a:p>
            <a:p>
              <a:pPr marL="550175" lvl="1" indent="-266700"/>
              <a:r>
                <a:rPr lang="en-US" sz="1400" dirty="0" err="1"/>
                <a:t>optimieren</a:t>
              </a:r>
              <a:r>
                <a:rPr lang="en-US" sz="1400" dirty="0"/>
                <a:t> die </a:t>
              </a:r>
              <a:r>
                <a:rPr lang="en-US" sz="1400" dirty="0" err="1"/>
                <a:t>Aerodynamik</a:t>
              </a:r>
              <a:r>
                <a:rPr lang="en-US" sz="1400" dirty="0"/>
                <a:t> von </a:t>
              </a:r>
              <a:r>
                <a:rPr lang="en-US" sz="1400" dirty="0" err="1"/>
                <a:t>Flugzeugen</a:t>
              </a:r>
              <a:endParaRPr lang="en-US" sz="1400" dirty="0"/>
            </a:p>
            <a:p>
              <a:pPr marL="266700" indent="-266700"/>
              <a:r>
                <a:rPr lang="en-US" sz="1400" dirty="0" err="1"/>
                <a:t>Einsparung</a:t>
              </a:r>
              <a:r>
                <a:rPr lang="en-US" sz="1400" dirty="0"/>
                <a:t> von ca. 400 Tonnen </a:t>
              </a:r>
              <a:r>
                <a:rPr lang="en-US" sz="1400" dirty="0" err="1"/>
                <a:t>Kerosin</a:t>
              </a:r>
              <a:br>
                <a:rPr lang="en-US" sz="1400" dirty="0"/>
              </a:br>
              <a:r>
                <a:rPr lang="en-US" sz="1400" dirty="0"/>
                <a:t>= ~1.250 t CO2 </a:t>
              </a:r>
              <a:r>
                <a:rPr lang="en-US" sz="1400" dirty="0" err="1"/>
                <a:t>Emissionen</a:t>
              </a:r>
              <a:r>
                <a:rPr lang="en-US" sz="1400" dirty="0"/>
                <a:t> pro </a:t>
              </a:r>
              <a:r>
                <a:rPr lang="en-US" sz="1400" dirty="0" err="1"/>
                <a:t>Flugzeug</a:t>
              </a:r>
              <a:r>
                <a:rPr lang="en-US" sz="1400" dirty="0"/>
                <a:t> p.a.</a:t>
              </a:r>
            </a:p>
            <a:p>
              <a:pPr marL="550175" lvl="1" indent="-266700"/>
              <a:endParaRPr lang="en-US" sz="1400" dirty="0"/>
            </a:p>
          </p:txBody>
        </p:sp>
        <p:pic>
          <p:nvPicPr>
            <p:cNvPr id="11" name="Textur" descr="Ein Bild, das Screenshot, Dreieck, Schwarzweiß enthält.&#10;&#10;Automatisch generierte Beschreibung">
              <a:extLst>
                <a:ext uri="{FF2B5EF4-FFF2-40B4-BE49-F238E27FC236}">
                  <a16:creationId xmlns:a16="http://schemas.microsoft.com/office/drawing/2014/main" id="{D3C7C113-783E-BDA5-FBA0-1428CD573AF7}"/>
                </a:ext>
              </a:extLst>
            </p:cNvPr>
            <p:cNvPicPr>
              <a:picLocks noChangeAspect="1"/>
            </p:cNvPicPr>
            <p:nvPr/>
          </p:nvPicPr>
          <p:blipFill rotWithShape="1">
            <a:blip r:embed="rId6"/>
            <a:srcRect t="15553" b="8019"/>
            <a:stretch/>
          </p:blipFill>
          <p:spPr>
            <a:xfrm>
              <a:off x="10417465" y="5002305"/>
              <a:ext cx="1301460" cy="658023"/>
            </a:xfrm>
            <a:prstGeom prst="rect">
              <a:avLst/>
            </a:prstGeom>
          </p:spPr>
        </p:pic>
      </p:grpSp>
      <p:sp>
        <p:nvSpPr>
          <p:cNvPr id="13" name="Foliennummernplatzhalter 12">
            <a:extLst>
              <a:ext uri="{FF2B5EF4-FFF2-40B4-BE49-F238E27FC236}">
                <a16:creationId xmlns:a16="http://schemas.microsoft.com/office/drawing/2014/main" id="{47BDF585-FE5C-130B-235C-A0E6B2FE1A9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de-DE" smtClean="0"/>
              <a:t>29</a:t>
            </a:fld>
            <a:endParaRPr lang="de-DE"/>
          </a:p>
        </p:txBody>
      </p:sp>
    </p:spTree>
    <p:extLst>
      <p:ext uri="{BB962C8B-B14F-4D97-AF65-F5344CB8AC3E}">
        <p14:creationId xmlns:p14="http://schemas.microsoft.com/office/powerpoint/2010/main" val="413672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hteck 58">
            <a:extLst>
              <a:ext uri="{FF2B5EF4-FFF2-40B4-BE49-F238E27FC236}">
                <a16:creationId xmlns:a16="http://schemas.microsoft.com/office/drawing/2014/main" id="{42B6F427-B6D9-57D1-841C-80FD39FA52F1}"/>
              </a:ext>
            </a:extLst>
          </p:cNvPr>
          <p:cNvSpPr/>
          <p:nvPr/>
        </p:nvSpPr>
        <p:spPr>
          <a:xfrm>
            <a:off x="5195900" y="6660850"/>
            <a:ext cx="1280620" cy="197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5" name="Grafik 4" descr="Ein Bild, das Industrie, Pfeife Flöte Rohr, Bautechnik, Stahl enthält.&#10;&#10;Automatisch generierte Beschreibung">
            <a:extLst>
              <a:ext uri="{FF2B5EF4-FFF2-40B4-BE49-F238E27FC236}">
                <a16:creationId xmlns:a16="http://schemas.microsoft.com/office/drawing/2014/main" id="{BAB61E26-58AE-E90F-0E05-28A94FD4737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0" y="-2"/>
            <a:ext cx="6096000" cy="6858002"/>
          </a:xfrm>
          <a:prstGeom prst="rect">
            <a:avLst/>
          </a:prstGeom>
        </p:spPr>
      </p:pic>
      <p:sp>
        <p:nvSpPr>
          <p:cNvPr id="6" name="Rechteck 5">
            <a:extLst>
              <a:ext uri="{FF2B5EF4-FFF2-40B4-BE49-F238E27FC236}">
                <a16:creationId xmlns:a16="http://schemas.microsoft.com/office/drawing/2014/main" id="{8D817358-2CB3-4E74-AE5B-80239DC09F76}"/>
              </a:ext>
            </a:extLst>
          </p:cNvPr>
          <p:cNvSpPr/>
          <p:nvPr/>
        </p:nvSpPr>
        <p:spPr>
          <a:xfrm flipV="1">
            <a:off x="0" y="-3"/>
            <a:ext cx="6096001" cy="2723405"/>
          </a:xfrm>
          <a:prstGeom prst="rect">
            <a:avLst/>
          </a:prstGeom>
          <a:gradFill flip="none" rotWithShape="1">
            <a:gsLst>
              <a:gs pos="0">
                <a:schemeClr val="tx1">
                  <a:alpha val="0"/>
                </a:schemeClr>
              </a:gs>
              <a:gs pos="100000">
                <a:schemeClr val="tx1">
                  <a:alpha val="54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cxnSp>
        <p:nvCxnSpPr>
          <p:cNvPr id="7" name="Gerader Verbinder 6">
            <a:extLst>
              <a:ext uri="{FF2B5EF4-FFF2-40B4-BE49-F238E27FC236}">
                <a16:creationId xmlns:a16="http://schemas.microsoft.com/office/drawing/2014/main" id="{4B9F3019-C6A7-0329-7BE4-29D8CA6CD6FA}"/>
              </a:ext>
            </a:extLst>
          </p:cNvPr>
          <p:cNvCxnSpPr>
            <a:cxnSpLocks/>
          </p:cNvCxnSpPr>
          <p:nvPr/>
        </p:nvCxnSpPr>
        <p:spPr>
          <a:xfrm>
            <a:off x="9175746" y="1755345"/>
            <a:ext cx="0" cy="37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9EB24022-3A7E-C092-045A-C42A75741398}"/>
              </a:ext>
            </a:extLst>
          </p:cNvPr>
          <p:cNvCxnSpPr>
            <a:cxnSpLocks/>
          </p:cNvCxnSpPr>
          <p:nvPr/>
        </p:nvCxnSpPr>
        <p:spPr>
          <a:xfrm>
            <a:off x="6275388" y="4059203"/>
            <a:ext cx="270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C7718889-FEEC-483B-86F3-D1235BAF9C0E}"/>
              </a:ext>
            </a:extLst>
          </p:cNvPr>
          <p:cNvCxnSpPr>
            <a:cxnSpLocks/>
          </p:cNvCxnSpPr>
          <p:nvPr/>
        </p:nvCxnSpPr>
        <p:spPr>
          <a:xfrm>
            <a:off x="9372364" y="4059203"/>
            <a:ext cx="2592000" cy="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CB8DEA7-9594-3215-0F92-1773BA98F0F9}"/>
              </a:ext>
            </a:extLst>
          </p:cNvPr>
          <p:cNvSpPr txBox="1">
            <a:spLocks/>
          </p:cNvSpPr>
          <p:nvPr/>
        </p:nvSpPr>
        <p:spPr>
          <a:xfrm>
            <a:off x="6713146" y="1961808"/>
            <a:ext cx="2226235" cy="868867"/>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4A96"/>
                </a:solidFill>
                <a:effectLst/>
                <a:uLnTx/>
                <a:uFillTx/>
                <a:latin typeface="Arial" panose="020B0604020202020204"/>
                <a:cs typeface="Arial"/>
              </a:rPr>
              <a:t>€</a:t>
            </a:r>
            <a:r>
              <a:rPr kumimoji="0" lang="en-US" sz="3000" b="1" i="0" u="none" strike="noStrike" kern="1200" cap="none" spc="0" normalizeH="0" baseline="0" noProof="0" dirty="0">
                <a:ln>
                  <a:noFill/>
                </a:ln>
                <a:solidFill>
                  <a:srgbClr val="004A96"/>
                </a:solidFill>
                <a:effectLst/>
                <a:uLnTx/>
                <a:uFillTx/>
                <a:latin typeface="Arial" panose="020B0604020202020204"/>
                <a:cs typeface="Arial"/>
              </a:rPr>
              <a:t>65.3</a:t>
            </a:r>
            <a:r>
              <a:rPr kumimoji="0" lang="en-US" sz="2200" b="1" i="0" u="none" strike="noStrike" kern="1200" cap="none" spc="0" normalizeH="0" baseline="0" noProof="0" dirty="0">
                <a:ln>
                  <a:noFill/>
                </a:ln>
                <a:solidFill>
                  <a:srgbClr val="004A96"/>
                </a:solidFill>
                <a:effectLst/>
                <a:uLnTx/>
                <a:uFillTx/>
                <a:latin typeface="Arial" panose="020B0604020202020204"/>
                <a:cs typeface="Arial"/>
              </a:rPr>
              <a:t>bn</a:t>
            </a:r>
          </a:p>
        </p:txBody>
      </p:sp>
      <p:sp>
        <p:nvSpPr>
          <p:cNvPr id="11" name="Textplatzhalter 2">
            <a:extLst>
              <a:ext uri="{FF2B5EF4-FFF2-40B4-BE49-F238E27FC236}">
                <a16:creationId xmlns:a16="http://schemas.microsoft.com/office/drawing/2014/main" id="{0443ACA5-1359-E69E-1DB9-5A103CDE6FCC}"/>
              </a:ext>
            </a:extLst>
          </p:cNvPr>
          <p:cNvSpPr txBox="1">
            <a:spLocks/>
          </p:cNvSpPr>
          <p:nvPr/>
        </p:nvSpPr>
        <p:spPr>
          <a:xfrm>
            <a:off x="6888324" y="1778601"/>
            <a:ext cx="2088000"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Sales</a:t>
            </a:r>
            <a:br>
              <a:rPr kumimoji="0" lang="en-US" sz="14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2024</a:t>
            </a:r>
          </a:p>
        </p:txBody>
      </p:sp>
      <p:pic>
        <p:nvPicPr>
          <p:cNvPr id="12" name="Grafik 11">
            <a:extLst>
              <a:ext uri="{FF2B5EF4-FFF2-40B4-BE49-F238E27FC236}">
                <a16:creationId xmlns:a16="http://schemas.microsoft.com/office/drawing/2014/main" id="{7CA6C1B3-5D62-DCB3-40CD-A9E1B53A34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688" y="1778601"/>
            <a:ext cx="403000" cy="468000"/>
          </a:xfrm>
          <a:prstGeom prst="rect">
            <a:avLst/>
          </a:prstGeom>
        </p:spPr>
      </p:pic>
      <p:sp>
        <p:nvSpPr>
          <p:cNvPr id="13" name="Textplatzhalter 2">
            <a:extLst>
              <a:ext uri="{FF2B5EF4-FFF2-40B4-BE49-F238E27FC236}">
                <a16:creationId xmlns:a16="http://schemas.microsoft.com/office/drawing/2014/main" id="{66BB8EC2-8C94-BDFE-BA19-46CB57263387}"/>
              </a:ext>
            </a:extLst>
          </p:cNvPr>
          <p:cNvSpPr txBox="1">
            <a:spLocks/>
          </p:cNvSpPr>
          <p:nvPr/>
        </p:nvSpPr>
        <p:spPr>
          <a:xfrm>
            <a:off x="9986981" y="1778601"/>
            <a:ext cx="2052000" cy="330993"/>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EBIT</a:t>
            </a:r>
            <a:br>
              <a:rPr kumimoji="0" lang="en-US" sz="14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before special</a:t>
            </a:r>
            <a:br>
              <a:rPr kumimoji="0" lang="en-US" sz="1400" b="0"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items 2024</a:t>
            </a:r>
          </a:p>
        </p:txBody>
      </p:sp>
      <p:sp>
        <p:nvSpPr>
          <p:cNvPr id="14" name="Textplatzhalter 2">
            <a:extLst>
              <a:ext uri="{FF2B5EF4-FFF2-40B4-BE49-F238E27FC236}">
                <a16:creationId xmlns:a16="http://schemas.microsoft.com/office/drawing/2014/main" id="{E793C82C-6887-93FE-C352-F9337BCBE056}"/>
              </a:ext>
            </a:extLst>
          </p:cNvPr>
          <p:cNvSpPr txBox="1">
            <a:spLocks/>
          </p:cNvSpPr>
          <p:nvPr/>
        </p:nvSpPr>
        <p:spPr>
          <a:xfrm>
            <a:off x="9917234" y="2001932"/>
            <a:ext cx="2046169" cy="833135"/>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4A96"/>
                </a:solidFill>
                <a:effectLst/>
                <a:uLnTx/>
                <a:uFillTx/>
                <a:latin typeface="Arial" panose="020B0604020202020204"/>
                <a:cs typeface="Arial"/>
              </a:rPr>
              <a:t>€</a:t>
            </a:r>
            <a:r>
              <a:rPr lang="en-US" sz="3000" b="1" dirty="0">
                <a:solidFill>
                  <a:srgbClr val="004A96"/>
                </a:solidFill>
                <a:latin typeface="Arial" panose="020B0604020202020204"/>
                <a:cs typeface="Arial"/>
              </a:rPr>
              <a:t>7</a:t>
            </a:r>
            <a:r>
              <a:rPr kumimoji="0" lang="en-US" sz="3000" b="1" i="0" u="none" strike="noStrike" kern="1200" cap="none" spc="0" normalizeH="0" baseline="0" noProof="0" dirty="0">
                <a:ln>
                  <a:noFill/>
                </a:ln>
                <a:solidFill>
                  <a:srgbClr val="004A96"/>
                </a:solidFill>
                <a:effectLst/>
                <a:uLnTx/>
                <a:uFillTx/>
                <a:latin typeface="Arial" panose="020B0604020202020204"/>
                <a:cs typeface="Arial"/>
              </a:rPr>
              <a:t>.9</a:t>
            </a:r>
            <a:r>
              <a:rPr kumimoji="0" lang="en-US" sz="2200" b="1" i="0" u="none" strike="noStrike" kern="1200" cap="none" spc="0" normalizeH="0" baseline="0" noProof="0" dirty="0">
                <a:ln>
                  <a:noFill/>
                </a:ln>
                <a:solidFill>
                  <a:srgbClr val="004A96"/>
                </a:solidFill>
                <a:effectLst/>
                <a:uLnTx/>
                <a:uFillTx/>
                <a:latin typeface="Arial" panose="020B0604020202020204"/>
                <a:cs typeface="Arial"/>
              </a:rPr>
              <a:t>bn</a:t>
            </a:r>
          </a:p>
        </p:txBody>
      </p:sp>
      <p:pic>
        <p:nvPicPr>
          <p:cNvPr id="15" name="Grafik 14">
            <a:extLst>
              <a:ext uri="{FF2B5EF4-FFF2-40B4-BE49-F238E27FC236}">
                <a16:creationId xmlns:a16="http://schemas.microsoft.com/office/drawing/2014/main" id="{CDD5264D-BE41-2B72-582F-065DFA7E39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72364" y="1778601"/>
            <a:ext cx="476746" cy="468000"/>
          </a:xfrm>
          <a:prstGeom prst="rect">
            <a:avLst/>
          </a:prstGeom>
        </p:spPr>
      </p:pic>
      <p:sp>
        <p:nvSpPr>
          <p:cNvPr id="16" name="Textplatzhalter 2">
            <a:extLst>
              <a:ext uri="{FF2B5EF4-FFF2-40B4-BE49-F238E27FC236}">
                <a16:creationId xmlns:a16="http://schemas.microsoft.com/office/drawing/2014/main" id="{DDBF1802-8E34-2C5A-ED96-D54C13290FF2}"/>
              </a:ext>
            </a:extLst>
          </p:cNvPr>
          <p:cNvSpPr txBox="1">
            <a:spLocks/>
          </p:cNvSpPr>
          <p:nvPr/>
        </p:nvSpPr>
        <p:spPr>
          <a:xfrm>
            <a:off x="9738417" y="4756864"/>
            <a:ext cx="2224986" cy="86838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4A96"/>
                </a:solidFill>
                <a:effectLst/>
                <a:uLnTx/>
                <a:uFillTx/>
                <a:latin typeface="Arial" panose="020B0604020202020204"/>
                <a:cs typeface="Arial"/>
              </a:rPr>
              <a:t>&gt;</a:t>
            </a:r>
            <a:r>
              <a:rPr kumimoji="0" lang="en-US" sz="3000" b="1" i="0" u="none" strike="noStrike" kern="1200" cap="none" spc="0" normalizeH="0" baseline="0" noProof="0" dirty="0">
                <a:ln>
                  <a:noFill/>
                </a:ln>
                <a:solidFill>
                  <a:srgbClr val="004A96"/>
                </a:solidFill>
                <a:effectLst/>
                <a:uLnTx/>
                <a:uFillTx/>
                <a:latin typeface="Arial" panose="020B0604020202020204"/>
                <a:cs typeface="Arial"/>
              </a:rPr>
              <a:t>74,000</a:t>
            </a:r>
            <a:endParaRPr kumimoji="0" lang="en-US" sz="2200" b="1" i="0" u="none" strike="noStrike" kern="1200" cap="none" spc="0" normalizeH="0" baseline="0" noProof="0" dirty="0">
              <a:ln>
                <a:noFill/>
              </a:ln>
              <a:solidFill>
                <a:srgbClr val="004A96"/>
              </a:solidFill>
              <a:effectLst/>
              <a:uLnTx/>
              <a:uFillTx/>
              <a:latin typeface="Arial" panose="020B0604020202020204"/>
              <a:cs typeface="Arial"/>
            </a:endParaRPr>
          </a:p>
        </p:txBody>
      </p:sp>
      <p:sp>
        <p:nvSpPr>
          <p:cNvPr id="17" name="Textplatzhalter 2">
            <a:extLst>
              <a:ext uri="{FF2B5EF4-FFF2-40B4-BE49-F238E27FC236}">
                <a16:creationId xmlns:a16="http://schemas.microsoft.com/office/drawing/2014/main" id="{D9281D1C-810F-DA4F-DEC5-CFF0716E45A8}"/>
              </a:ext>
            </a:extLst>
          </p:cNvPr>
          <p:cNvSpPr txBox="1">
            <a:spLocks/>
          </p:cNvSpPr>
          <p:nvPr/>
        </p:nvSpPr>
        <p:spPr>
          <a:xfrm>
            <a:off x="9986981" y="4168678"/>
            <a:ext cx="2002962" cy="33080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Customers</a:t>
            </a:r>
            <a:br>
              <a:rPr kumimoji="0" lang="en-US" sz="16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from various sectors</a:t>
            </a:r>
            <a:br>
              <a:rPr kumimoji="0" lang="en-US" sz="1400" b="0"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in almost every country in the world</a:t>
            </a:r>
          </a:p>
        </p:txBody>
      </p:sp>
      <p:sp>
        <p:nvSpPr>
          <p:cNvPr id="18" name="Grafik 3">
            <a:extLst>
              <a:ext uri="{FF2B5EF4-FFF2-40B4-BE49-F238E27FC236}">
                <a16:creationId xmlns:a16="http://schemas.microsoft.com/office/drawing/2014/main" id="{02181D81-7A1B-B2F7-055E-7B8D602BAE1D}"/>
              </a:ext>
            </a:extLst>
          </p:cNvPr>
          <p:cNvSpPr>
            <a:spLocks noChangeAspect="1"/>
          </p:cNvSpPr>
          <p:nvPr/>
        </p:nvSpPr>
        <p:spPr>
          <a:xfrm>
            <a:off x="9376869" y="4189294"/>
            <a:ext cx="467737" cy="467737"/>
          </a:xfrm>
          <a:custGeom>
            <a:avLst/>
            <a:gdLst>
              <a:gd name="connsiteX0" fmla="*/ 212979 w 425767"/>
              <a:gd name="connsiteY0" fmla="*/ 0 h 425767"/>
              <a:gd name="connsiteX1" fmla="*/ 0 w 425767"/>
              <a:gd name="connsiteY1" fmla="*/ 212789 h 425767"/>
              <a:gd name="connsiteX2" fmla="*/ 212789 w 425767"/>
              <a:gd name="connsiteY2" fmla="*/ 425768 h 425767"/>
              <a:gd name="connsiteX3" fmla="*/ 425767 w 425767"/>
              <a:gd name="connsiteY3" fmla="*/ 212979 h 425767"/>
              <a:gd name="connsiteX4" fmla="*/ 425768 w 425767"/>
              <a:gd name="connsiteY4" fmla="*/ 212884 h 425767"/>
              <a:gd name="connsiteX5" fmla="*/ 212979 w 425767"/>
              <a:gd name="connsiteY5" fmla="*/ 0 h 425767"/>
              <a:gd name="connsiteX6" fmla="*/ 409670 w 425767"/>
              <a:gd name="connsiteY6" fmla="*/ 204407 h 425767"/>
              <a:gd name="connsiteX7" fmla="*/ 406908 w 425767"/>
              <a:gd name="connsiteY7" fmla="*/ 204407 h 425767"/>
              <a:gd name="connsiteX8" fmla="*/ 393764 w 425767"/>
              <a:gd name="connsiteY8" fmla="*/ 216218 h 425767"/>
              <a:gd name="connsiteX9" fmla="*/ 390620 w 425767"/>
              <a:gd name="connsiteY9" fmla="*/ 225743 h 425767"/>
              <a:gd name="connsiteX10" fmla="*/ 389763 w 425767"/>
              <a:gd name="connsiteY10" fmla="*/ 234410 h 425767"/>
              <a:gd name="connsiteX11" fmla="*/ 376428 w 425767"/>
              <a:gd name="connsiteY11" fmla="*/ 219075 h 425767"/>
              <a:gd name="connsiteX12" fmla="*/ 370713 w 425767"/>
              <a:gd name="connsiteY12" fmla="*/ 200597 h 425767"/>
              <a:gd name="connsiteX13" fmla="*/ 364998 w 425767"/>
              <a:gd name="connsiteY13" fmla="*/ 200597 h 425767"/>
              <a:gd name="connsiteX14" fmla="*/ 354521 w 425767"/>
              <a:gd name="connsiteY14" fmla="*/ 192024 h 425767"/>
              <a:gd name="connsiteX15" fmla="*/ 343567 w 425767"/>
              <a:gd name="connsiteY15" fmla="*/ 194501 h 425767"/>
              <a:gd name="connsiteX16" fmla="*/ 332804 w 425767"/>
              <a:gd name="connsiteY16" fmla="*/ 191262 h 425767"/>
              <a:gd name="connsiteX17" fmla="*/ 320897 w 425767"/>
              <a:gd name="connsiteY17" fmla="*/ 189929 h 425767"/>
              <a:gd name="connsiteX18" fmla="*/ 314420 w 425767"/>
              <a:gd name="connsiteY18" fmla="*/ 183071 h 425767"/>
              <a:gd name="connsiteX19" fmla="*/ 308229 w 425767"/>
              <a:gd name="connsiteY19" fmla="*/ 186023 h 425767"/>
              <a:gd name="connsiteX20" fmla="*/ 322326 w 425767"/>
              <a:gd name="connsiteY20" fmla="*/ 201073 h 425767"/>
              <a:gd name="connsiteX21" fmla="*/ 334328 w 425767"/>
              <a:gd name="connsiteY21" fmla="*/ 199073 h 425767"/>
              <a:gd name="connsiteX22" fmla="*/ 339852 w 425767"/>
              <a:gd name="connsiteY22" fmla="*/ 207264 h 425767"/>
              <a:gd name="connsiteX23" fmla="*/ 330327 w 425767"/>
              <a:gd name="connsiteY23" fmla="*/ 223361 h 425767"/>
              <a:gd name="connsiteX24" fmla="*/ 310706 w 425767"/>
              <a:gd name="connsiteY24" fmla="*/ 230410 h 425767"/>
              <a:gd name="connsiteX25" fmla="*/ 302705 w 425767"/>
              <a:gd name="connsiteY25" fmla="*/ 217551 h 425767"/>
              <a:gd name="connsiteX26" fmla="*/ 290798 w 425767"/>
              <a:gd name="connsiteY26" fmla="*/ 206597 h 425767"/>
              <a:gd name="connsiteX27" fmla="*/ 283559 w 425767"/>
              <a:gd name="connsiteY27" fmla="*/ 195167 h 425767"/>
              <a:gd name="connsiteX28" fmla="*/ 283559 w 425767"/>
              <a:gd name="connsiteY28" fmla="*/ 210979 h 425767"/>
              <a:gd name="connsiteX29" fmla="*/ 312134 w 425767"/>
              <a:gd name="connsiteY29" fmla="*/ 239554 h 425767"/>
              <a:gd name="connsiteX30" fmla="*/ 326612 w 425767"/>
              <a:gd name="connsiteY30" fmla="*/ 234601 h 425767"/>
              <a:gd name="connsiteX31" fmla="*/ 327279 w 425767"/>
              <a:gd name="connsiteY31" fmla="*/ 245555 h 425767"/>
              <a:gd name="connsiteX32" fmla="*/ 312134 w 425767"/>
              <a:gd name="connsiteY32" fmla="*/ 281845 h 425767"/>
              <a:gd name="connsiteX33" fmla="*/ 314039 w 425767"/>
              <a:gd name="connsiteY33" fmla="*/ 314420 h 425767"/>
              <a:gd name="connsiteX34" fmla="*/ 303086 w 425767"/>
              <a:gd name="connsiteY34" fmla="*/ 320993 h 425767"/>
              <a:gd name="connsiteX35" fmla="*/ 310039 w 425767"/>
              <a:gd name="connsiteY35" fmla="*/ 336423 h 425767"/>
              <a:gd name="connsiteX36" fmla="*/ 302133 w 425767"/>
              <a:gd name="connsiteY36" fmla="*/ 349758 h 425767"/>
              <a:gd name="connsiteX37" fmla="*/ 291370 w 425767"/>
              <a:gd name="connsiteY37" fmla="*/ 369284 h 425767"/>
              <a:gd name="connsiteX38" fmla="*/ 275749 w 425767"/>
              <a:gd name="connsiteY38" fmla="*/ 374333 h 425767"/>
              <a:gd name="connsiteX39" fmla="*/ 267081 w 425767"/>
              <a:gd name="connsiteY39" fmla="*/ 344138 h 425767"/>
              <a:gd name="connsiteX40" fmla="*/ 254984 w 425767"/>
              <a:gd name="connsiteY40" fmla="*/ 320993 h 425767"/>
              <a:gd name="connsiteX41" fmla="*/ 254984 w 425767"/>
              <a:gd name="connsiteY41" fmla="*/ 304229 h 425767"/>
              <a:gd name="connsiteX42" fmla="*/ 240411 w 425767"/>
              <a:gd name="connsiteY42" fmla="*/ 282512 h 425767"/>
              <a:gd name="connsiteX43" fmla="*/ 241554 w 425767"/>
              <a:gd name="connsiteY43" fmla="*/ 269272 h 425767"/>
              <a:gd name="connsiteX44" fmla="*/ 233077 w 425767"/>
              <a:gd name="connsiteY44" fmla="*/ 271558 h 425767"/>
              <a:gd name="connsiteX45" fmla="*/ 227362 w 425767"/>
              <a:gd name="connsiteY45" fmla="*/ 265176 h 425767"/>
              <a:gd name="connsiteX46" fmla="*/ 201358 w 425767"/>
              <a:gd name="connsiteY46" fmla="*/ 276225 h 425767"/>
              <a:gd name="connsiteX47" fmla="*/ 189357 w 425767"/>
              <a:gd name="connsiteY47" fmla="*/ 262604 h 425767"/>
              <a:gd name="connsiteX48" fmla="*/ 181070 w 425767"/>
              <a:gd name="connsiteY48" fmla="*/ 252317 h 425767"/>
              <a:gd name="connsiteX49" fmla="*/ 181070 w 425767"/>
              <a:gd name="connsiteY49" fmla="*/ 238125 h 425767"/>
              <a:gd name="connsiteX50" fmla="*/ 178118 w 425767"/>
              <a:gd name="connsiteY50" fmla="*/ 228600 h 425767"/>
              <a:gd name="connsiteX51" fmla="*/ 190595 w 425767"/>
              <a:gd name="connsiteY51" fmla="*/ 204978 h 425767"/>
              <a:gd name="connsiteX52" fmla="*/ 189643 w 425767"/>
              <a:gd name="connsiteY52" fmla="*/ 198596 h 425767"/>
              <a:gd name="connsiteX53" fmla="*/ 194120 w 425767"/>
              <a:gd name="connsiteY53" fmla="*/ 194501 h 425767"/>
              <a:gd name="connsiteX54" fmla="*/ 194882 w 425767"/>
              <a:gd name="connsiteY54" fmla="*/ 188309 h 425767"/>
              <a:gd name="connsiteX55" fmla="*/ 205835 w 425767"/>
              <a:gd name="connsiteY55" fmla="*/ 187547 h 425767"/>
              <a:gd name="connsiteX56" fmla="*/ 218313 w 425767"/>
              <a:gd name="connsiteY56" fmla="*/ 180975 h 425767"/>
              <a:gd name="connsiteX57" fmla="*/ 229457 w 425767"/>
              <a:gd name="connsiteY57" fmla="*/ 183928 h 425767"/>
              <a:gd name="connsiteX58" fmla="*/ 237268 w 425767"/>
              <a:gd name="connsiteY58" fmla="*/ 192024 h 425767"/>
              <a:gd name="connsiteX59" fmla="*/ 249745 w 425767"/>
              <a:gd name="connsiteY59" fmla="*/ 194405 h 425767"/>
              <a:gd name="connsiteX60" fmla="*/ 254889 w 425767"/>
              <a:gd name="connsiteY60" fmla="*/ 187928 h 425767"/>
              <a:gd name="connsiteX61" fmla="*/ 284988 w 425767"/>
              <a:gd name="connsiteY61" fmla="*/ 181832 h 425767"/>
              <a:gd name="connsiteX62" fmla="*/ 283464 w 425767"/>
              <a:gd name="connsiteY62" fmla="*/ 172307 h 425767"/>
              <a:gd name="connsiteX63" fmla="*/ 273272 w 425767"/>
              <a:gd name="connsiteY63" fmla="*/ 172307 h 425767"/>
              <a:gd name="connsiteX64" fmla="*/ 274511 w 425767"/>
              <a:gd name="connsiteY64" fmla="*/ 156020 h 425767"/>
              <a:gd name="connsiteX65" fmla="*/ 291465 w 425767"/>
              <a:gd name="connsiteY65" fmla="*/ 156496 h 425767"/>
              <a:gd name="connsiteX66" fmla="*/ 295847 w 425767"/>
              <a:gd name="connsiteY66" fmla="*/ 154781 h 425767"/>
              <a:gd name="connsiteX67" fmla="*/ 288417 w 425767"/>
              <a:gd name="connsiteY67" fmla="*/ 147733 h 425767"/>
              <a:gd name="connsiteX68" fmla="*/ 286226 w 425767"/>
              <a:gd name="connsiteY68" fmla="*/ 138208 h 425767"/>
              <a:gd name="connsiteX69" fmla="*/ 280130 w 425767"/>
              <a:gd name="connsiteY69" fmla="*/ 149066 h 425767"/>
              <a:gd name="connsiteX70" fmla="*/ 273177 w 425767"/>
              <a:gd name="connsiteY70" fmla="*/ 145542 h 425767"/>
              <a:gd name="connsiteX71" fmla="*/ 265748 w 425767"/>
              <a:gd name="connsiteY71" fmla="*/ 146876 h 425767"/>
              <a:gd name="connsiteX72" fmla="*/ 265748 w 425767"/>
              <a:gd name="connsiteY72" fmla="*/ 159068 h 425767"/>
              <a:gd name="connsiteX73" fmla="*/ 262128 w 425767"/>
              <a:gd name="connsiteY73" fmla="*/ 167735 h 425767"/>
              <a:gd name="connsiteX74" fmla="*/ 260128 w 425767"/>
              <a:gd name="connsiteY74" fmla="*/ 172593 h 425767"/>
              <a:gd name="connsiteX75" fmla="*/ 249269 w 425767"/>
              <a:gd name="connsiteY75" fmla="*/ 169736 h 425767"/>
              <a:gd name="connsiteX76" fmla="*/ 239078 w 425767"/>
              <a:gd name="connsiteY76" fmla="*/ 160211 h 425767"/>
              <a:gd name="connsiteX77" fmla="*/ 242411 w 425767"/>
              <a:gd name="connsiteY77" fmla="*/ 173069 h 425767"/>
              <a:gd name="connsiteX78" fmla="*/ 238030 w 425767"/>
              <a:gd name="connsiteY78" fmla="*/ 176213 h 425767"/>
              <a:gd name="connsiteX79" fmla="*/ 240125 w 425767"/>
              <a:gd name="connsiteY79" fmla="*/ 170498 h 425767"/>
              <a:gd name="connsiteX80" fmla="*/ 222123 w 425767"/>
              <a:gd name="connsiteY80" fmla="*/ 158591 h 425767"/>
              <a:gd name="connsiteX81" fmla="*/ 211741 w 425767"/>
              <a:gd name="connsiteY81" fmla="*/ 165449 h 425767"/>
              <a:gd name="connsiteX82" fmla="*/ 204026 w 425767"/>
              <a:gd name="connsiteY82" fmla="*/ 170212 h 425767"/>
              <a:gd name="connsiteX83" fmla="*/ 201358 w 425767"/>
              <a:gd name="connsiteY83" fmla="*/ 184023 h 425767"/>
              <a:gd name="connsiteX84" fmla="*/ 185738 w 425767"/>
              <a:gd name="connsiteY84" fmla="*/ 181928 h 425767"/>
              <a:gd name="connsiteX85" fmla="*/ 189452 w 425767"/>
              <a:gd name="connsiteY85" fmla="*/ 164116 h 425767"/>
              <a:gd name="connsiteX86" fmla="*/ 201740 w 425767"/>
              <a:gd name="connsiteY86" fmla="*/ 161925 h 425767"/>
              <a:gd name="connsiteX87" fmla="*/ 192215 w 425767"/>
              <a:gd name="connsiteY87" fmla="*/ 147542 h 425767"/>
              <a:gd name="connsiteX88" fmla="*/ 205169 w 425767"/>
              <a:gd name="connsiteY88" fmla="*/ 138779 h 425767"/>
              <a:gd name="connsiteX89" fmla="*/ 212693 w 425767"/>
              <a:gd name="connsiteY89" fmla="*/ 128588 h 425767"/>
              <a:gd name="connsiteX90" fmla="*/ 209645 w 425767"/>
              <a:gd name="connsiteY90" fmla="*/ 117920 h 425767"/>
              <a:gd name="connsiteX91" fmla="*/ 214217 w 425767"/>
              <a:gd name="connsiteY91" fmla="*/ 117920 h 425767"/>
              <a:gd name="connsiteX92" fmla="*/ 221075 w 425767"/>
              <a:gd name="connsiteY92" fmla="*/ 124968 h 425767"/>
              <a:gd name="connsiteX93" fmla="*/ 241364 w 425767"/>
              <a:gd name="connsiteY93" fmla="*/ 117920 h 425767"/>
              <a:gd name="connsiteX94" fmla="*/ 243650 w 425767"/>
              <a:gd name="connsiteY94" fmla="*/ 109157 h 425767"/>
              <a:gd name="connsiteX95" fmla="*/ 251555 w 425767"/>
              <a:gd name="connsiteY95" fmla="*/ 95250 h 425767"/>
              <a:gd name="connsiteX96" fmla="*/ 239078 w 425767"/>
              <a:gd name="connsiteY96" fmla="*/ 88202 h 425767"/>
              <a:gd name="connsiteX97" fmla="*/ 230600 w 425767"/>
              <a:gd name="connsiteY97" fmla="*/ 94298 h 425767"/>
              <a:gd name="connsiteX98" fmla="*/ 234506 w 425767"/>
              <a:gd name="connsiteY98" fmla="*/ 106013 h 425767"/>
              <a:gd name="connsiteX99" fmla="*/ 229648 w 425767"/>
              <a:gd name="connsiteY99" fmla="*/ 116777 h 425767"/>
              <a:gd name="connsiteX100" fmla="*/ 211741 w 425767"/>
              <a:gd name="connsiteY100" fmla="*/ 113252 h 425767"/>
              <a:gd name="connsiteX101" fmla="*/ 205835 w 425767"/>
              <a:gd name="connsiteY101" fmla="*/ 101251 h 425767"/>
              <a:gd name="connsiteX102" fmla="*/ 224409 w 425767"/>
              <a:gd name="connsiteY102" fmla="*/ 76200 h 425767"/>
              <a:gd name="connsiteX103" fmla="*/ 242697 w 425767"/>
              <a:gd name="connsiteY103" fmla="*/ 55626 h 425767"/>
              <a:gd name="connsiteX104" fmla="*/ 257270 w 425767"/>
              <a:gd name="connsiteY104" fmla="*/ 57150 h 425767"/>
              <a:gd name="connsiteX105" fmla="*/ 270986 w 425767"/>
              <a:gd name="connsiteY105" fmla="*/ 60103 h 425767"/>
              <a:gd name="connsiteX106" fmla="*/ 277844 w 425767"/>
              <a:gd name="connsiteY106" fmla="*/ 64008 h 425767"/>
              <a:gd name="connsiteX107" fmla="*/ 270034 w 425767"/>
              <a:gd name="connsiteY107" fmla="*/ 70104 h 425767"/>
              <a:gd name="connsiteX108" fmla="*/ 274034 w 425767"/>
              <a:gd name="connsiteY108" fmla="*/ 79153 h 425767"/>
              <a:gd name="connsiteX109" fmla="*/ 286607 w 425767"/>
              <a:gd name="connsiteY109" fmla="*/ 68866 h 425767"/>
              <a:gd name="connsiteX110" fmla="*/ 291370 w 425767"/>
              <a:gd name="connsiteY110" fmla="*/ 57531 h 425767"/>
              <a:gd name="connsiteX111" fmla="*/ 293561 w 425767"/>
              <a:gd name="connsiteY111" fmla="*/ 59627 h 425767"/>
              <a:gd name="connsiteX112" fmla="*/ 296132 w 425767"/>
              <a:gd name="connsiteY112" fmla="*/ 66675 h 425767"/>
              <a:gd name="connsiteX113" fmla="*/ 317945 w 425767"/>
              <a:gd name="connsiteY113" fmla="*/ 53626 h 425767"/>
              <a:gd name="connsiteX114" fmla="*/ 322231 w 425767"/>
              <a:gd name="connsiteY114" fmla="*/ 49054 h 425767"/>
              <a:gd name="connsiteX115" fmla="*/ 409670 w 425767"/>
              <a:gd name="connsiteY115" fmla="*/ 204407 h 425767"/>
              <a:gd name="connsiteX116" fmla="*/ 162496 w 425767"/>
              <a:gd name="connsiteY116" fmla="*/ 132779 h 425767"/>
              <a:gd name="connsiteX117" fmla="*/ 169640 w 425767"/>
              <a:gd name="connsiteY117" fmla="*/ 132779 h 425767"/>
              <a:gd name="connsiteX118" fmla="*/ 174974 w 425767"/>
              <a:gd name="connsiteY118" fmla="*/ 138113 h 425767"/>
              <a:gd name="connsiteX119" fmla="*/ 184499 w 425767"/>
              <a:gd name="connsiteY119" fmla="*/ 160782 h 425767"/>
              <a:gd name="connsiteX120" fmla="*/ 169640 w 425767"/>
              <a:gd name="connsiteY120" fmla="*/ 160782 h 425767"/>
              <a:gd name="connsiteX121" fmla="*/ 169640 w 425767"/>
              <a:gd name="connsiteY121" fmla="*/ 148304 h 425767"/>
              <a:gd name="connsiteX122" fmla="*/ 113157 w 425767"/>
              <a:gd name="connsiteY122" fmla="*/ 94107 h 425767"/>
              <a:gd name="connsiteX123" fmla="*/ 117729 w 425767"/>
              <a:gd name="connsiteY123" fmla="*/ 85725 h 425767"/>
              <a:gd name="connsiteX124" fmla="*/ 113538 w 425767"/>
              <a:gd name="connsiteY124" fmla="*/ 77629 h 425767"/>
              <a:gd name="connsiteX125" fmla="*/ 104870 w 425767"/>
              <a:gd name="connsiteY125" fmla="*/ 80486 h 425767"/>
              <a:gd name="connsiteX126" fmla="*/ 104870 w 425767"/>
              <a:gd name="connsiteY126" fmla="*/ 71914 h 425767"/>
              <a:gd name="connsiteX127" fmla="*/ 87535 w 425767"/>
              <a:gd name="connsiteY127" fmla="*/ 61246 h 425767"/>
              <a:gd name="connsiteX128" fmla="*/ 155448 w 425767"/>
              <a:gd name="connsiteY128" fmla="*/ 24670 h 425767"/>
              <a:gd name="connsiteX129" fmla="*/ 166878 w 425767"/>
              <a:gd name="connsiteY129" fmla="*/ 26575 h 425767"/>
              <a:gd name="connsiteX130" fmla="*/ 181070 w 425767"/>
              <a:gd name="connsiteY130" fmla="*/ 21717 h 425767"/>
              <a:gd name="connsiteX131" fmla="*/ 190595 w 425767"/>
              <a:gd name="connsiteY131" fmla="*/ 21717 h 425767"/>
              <a:gd name="connsiteX132" fmla="*/ 177165 w 425767"/>
              <a:gd name="connsiteY132" fmla="*/ 33147 h 425767"/>
              <a:gd name="connsiteX133" fmla="*/ 173927 w 425767"/>
              <a:gd name="connsiteY133" fmla="*/ 40958 h 425767"/>
              <a:gd name="connsiteX134" fmla="*/ 178975 w 425767"/>
              <a:gd name="connsiteY134" fmla="*/ 44482 h 425767"/>
              <a:gd name="connsiteX135" fmla="*/ 175546 w 425767"/>
              <a:gd name="connsiteY135" fmla="*/ 49054 h 425767"/>
              <a:gd name="connsiteX136" fmla="*/ 175546 w 425767"/>
              <a:gd name="connsiteY136" fmla="*/ 57150 h 425767"/>
              <a:gd name="connsiteX137" fmla="*/ 177927 w 425767"/>
              <a:gd name="connsiteY137" fmla="*/ 70295 h 425767"/>
              <a:gd name="connsiteX138" fmla="*/ 165068 w 425767"/>
              <a:gd name="connsiteY138" fmla="*/ 66675 h 425767"/>
              <a:gd name="connsiteX139" fmla="*/ 169355 w 425767"/>
              <a:gd name="connsiteY139" fmla="*/ 79534 h 425767"/>
              <a:gd name="connsiteX140" fmla="*/ 158591 w 425767"/>
              <a:gd name="connsiteY140" fmla="*/ 86392 h 425767"/>
              <a:gd name="connsiteX141" fmla="*/ 147447 w 425767"/>
              <a:gd name="connsiteY141" fmla="*/ 95250 h 425767"/>
              <a:gd name="connsiteX142" fmla="*/ 136684 w 425767"/>
              <a:gd name="connsiteY142" fmla="*/ 104775 h 425767"/>
              <a:gd name="connsiteX143" fmla="*/ 133445 w 425767"/>
              <a:gd name="connsiteY143" fmla="*/ 117920 h 425767"/>
              <a:gd name="connsiteX144" fmla="*/ 118872 w 425767"/>
              <a:gd name="connsiteY144" fmla="*/ 109347 h 425767"/>
              <a:gd name="connsiteX145" fmla="*/ 113062 w 425767"/>
              <a:gd name="connsiteY145" fmla="*/ 99822 h 425767"/>
              <a:gd name="connsiteX146" fmla="*/ 116205 w 425767"/>
              <a:gd name="connsiteY146" fmla="*/ 97346 h 425767"/>
              <a:gd name="connsiteX147" fmla="*/ 29337 w 425767"/>
              <a:gd name="connsiteY147" fmla="*/ 142875 h 425767"/>
              <a:gd name="connsiteX148" fmla="*/ 34480 w 425767"/>
              <a:gd name="connsiteY148" fmla="*/ 148971 h 425767"/>
              <a:gd name="connsiteX149" fmla="*/ 40195 w 425767"/>
              <a:gd name="connsiteY149" fmla="*/ 145542 h 425767"/>
              <a:gd name="connsiteX150" fmla="*/ 59245 w 425767"/>
              <a:gd name="connsiteY150" fmla="*/ 156972 h 425767"/>
              <a:gd name="connsiteX151" fmla="*/ 67818 w 425767"/>
              <a:gd name="connsiteY151" fmla="*/ 163830 h 425767"/>
              <a:gd name="connsiteX152" fmla="*/ 63056 w 425767"/>
              <a:gd name="connsiteY152" fmla="*/ 152400 h 425767"/>
              <a:gd name="connsiteX153" fmla="*/ 67628 w 425767"/>
              <a:gd name="connsiteY153" fmla="*/ 141542 h 425767"/>
              <a:gd name="connsiteX154" fmla="*/ 59626 w 425767"/>
              <a:gd name="connsiteY154" fmla="*/ 134588 h 425767"/>
              <a:gd name="connsiteX155" fmla="*/ 65341 w 425767"/>
              <a:gd name="connsiteY155" fmla="*/ 122587 h 425767"/>
              <a:gd name="connsiteX156" fmla="*/ 81343 w 425767"/>
              <a:gd name="connsiteY156" fmla="*/ 126683 h 425767"/>
              <a:gd name="connsiteX157" fmla="*/ 80296 w 425767"/>
              <a:gd name="connsiteY157" fmla="*/ 131445 h 425767"/>
              <a:gd name="connsiteX158" fmla="*/ 90964 w 425767"/>
              <a:gd name="connsiteY158" fmla="*/ 127159 h 425767"/>
              <a:gd name="connsiteX159" fmla="*/ 101727 w 425767"/>
              <a:gd name="connsiteY159" fmla="*/ 138684 h 425767"/>
              <a:gd name="connsiteX160" fmla="*/ 111252 w 425767"/>
              <a:gd name="connsiteY160" fmla="*/ 144399 h 425767"/>
              <a:gd name="connsiteX161" fmla="*/ 108394 w 425767"/>
              <a:gd name="connsiteY161" fmla="*/ 161925 h 425767"/>
              <a:gd name="connsiteX162" fmla="*/ 89344 w 425767"/>
              <a:gd name="connsiteY162" fmla="*/ 165926 h 425767"/>
              <a:gd name="connsiteX163" fmla="*/ 101632 w 425767"/>
              <a:gd name="connsiteY163" fmla="*/ 175451 h 425767"/>
              <a:gd name="connsiteX164" fmla="*/ 104013 w 425767"/>
              <a:gd name="connsiteY164" fmla="*/ 185928 h 425767"/>
              <a:gd name="connsiteX165" fmla="*/ 96965 w 425767"/>
              <a:gd name="connsiteY165" fmla="*/ 184118 h 425767"/>
              <a:gd name="connsiteX166" fmla="*/ 89630 w 425767"/>
              <a:gd name="connsiteY166" fmla="*/ 186309 h 425767"/>
              <a:gd name="connsiteX167" fmla="*/ 83820 w 425767"/>
              <a:gd name="connsiteY167" fmla="*/ 191167 h 425767"/>
              <a:gd name="connsiteX168" fmla="*/ 78772 w 425767"/>
              <a:gd name="connsiteY168" fmla="*/ 201263 h 425767"/>
              <a:gd name="connsiteX169" fmla="*/ 80010 w 425767"/>
              <a:gd name="connsiteY169" fmla="*/ 211931 h 425767"/>
              <a:gd name="connsiteX170" fmla="*/ 70485 w 425767"/>
              <a:gd name="connsiteY170" fmla="*/ 226695 h 425767"/>
              <a:gd name="connsiteX171" fmla="*/ 73152 w 425767"/>
              <a:gd name="connsiteY171" fmla="*/ 237363 h 425767"/>
              <a:gd name="connsiteX172" fmla="*/ 71247 w 425767"/>
              <a:gd name="connsiteY172" fmla="*/ 239459 h 425767"/>
              <a:gd name="connsiteX173" fmla="*/ 61722 w 425767"/>
              <a:gd name="connsiteY173" fmla="*/ 234696 h 425767"/>
              <a:gd name="connsiteX174" fmla="*/ 50959 w 425767"/>
              <a:gd name="connsiteY174" fmla="*/ 236696 h 425767"/>
              <a:gd name="connsiteX175" fmla="*/ 48292 w 425767"/>
              <a:gd name="connsiteY175" fmla="*/ 244031 h 425767"/>
              <a:gd name="connsiteX176" fmla="*/ 41148 w 425767"/>
              <a:gd name="connsiteY176" fmla="*/ 260985 h 425767"/>
              <a:gd name="connsiteX177" fmla="*/ 48768 w 425767"/>
              <a:gd name="connsiteY177" fmla="*/ 265081 h 425767"/>
              <a:gd name="connsiteX178" fmla="*/ 53531 w 425767"/>
              <a:gd name="connsiteY178" fmla="*/ 256985 h 425767"/>
              <a:gd name="connsiteX179" fmla="*/ 59626 w 425767"/>
              <a:gd name="connsiteY179" fmla="*/ 255937 h 425767"/>
              <a:gd name="connsiteX180" fmla="*/ 59626 w 425767"/>
              <a:gd name="connsiteY180" fmla="*/ 268510 h 425767"/>
              <a:gd name="connsiteX181" fmla="*/ 66866 w 425767"/>
              <a:gd name="connsiteY181" fmla="*/ 268510 h 425767"/>
              <a:gd name="connsiteX182" fmla="*/ 70866 w 425767"/>
              <a:gd name="connsiteY182" fmla="*/ 274796 h 425767"/>
              <a:gd name="connsiteX183" fmla="*/ 80391 w 425767"/>
              <a:gd name="connsiteY183" fmla="*/ 278321 h 425767"/>
              <a:gd name="connsiteX184" fmla="*/ 89916 w 425767"/>
              <a:gd name="connsiteY184" fmla="*/ 286512 h 425767"/>
              <a:gd name="connsiteX185" fmla="*/ 92488 w 425767"/>
              <a:gd name="connsiteY185" fmla="*/ 280702 h 425767"/>
              <a:gd name="connsiteX186" fmla="*/ 112586 w 425767"/>
              <a:gd name="connsiteY186" fmla="*/ 278321 h 425767"/>
              <a:gd name="connsiteX187" fmla="*/ 138017 w 425767"/>
              <a:gd name="connsiteY187" fmla="*/ 286131 h 425767"/>
              <a:gd name="connsiteX188" fmla="*/ 148781 w 425767"/>
              <a:gd name="connsiteY188" fmla="*/ 305753 h 425767"/>
              <a:gd name="connsiteX189" fmla="*/ 181737 w 425767"/>
              <a:gd name="connsiteY189" fmla="*/ 309658 h 425767"/>
              <a:gd name="connsiteX190" fmla="*/ 185261 w 425767"/>
              <a:gd name="connsiteY190" fmla="*/ 320421 h 425767"/>
              <a:gd name="connsiteX191" fmla="*/ 179165 w 425767"/>
              <a:gd name="connsiteY191" fmla="*/ 358521 h 425767"/>
              <a:gd name="connsiteX192" fmla="*/ 162211 w 425767"/>
              <a:gd name="connsiteY192" fmla="*/ 383381 h 425767"/>
              <a:gd name="connsiteX193" fmla="*/ 156591 w 425767"/>
              <a:gd name="connsiteY193" fmla="*/ 401384 h 425767"/>
              <a:gd name="connsiteX194" fmla="*/ 116872 w 425767"/>
              <a:gd name="connsiteY194" fmla="*/ 384620 h 425767"/>
              <a:gd name="connsiteX195" fmla="*/ 116872 w 425767"/>
              <a:gd name="connsiteY195" fmla="*/ 361093 h 425767"/>
              <a:gd name="connsiteX196" fmla="*/ 97250 w 425767"/>
              <a:gd name="connsiteY196" fmla="*/ 350711 h 425767"/>
              <a:gd name="connsiteX197" fmla="*/ 84487 w 425767"/>
              <a:gd name="connsiteY197" fmla="*/ 329184 h 425767"/>
              <a:gd name="connsiteX198" fmla="*/ 84487 w 425767"/>
              <a:gd name="connsiteY198" fmla="*/ 300133 h 425767"/>
              <a:gd name="connsiteX199" fmla="*/ 87916 w 425767"/>
              <a:gd name="connsiteY199" fmla="*/ 292418 h 425767"/>
              <a:gd name="connsiteX200" fmla="*/ 84487 w 425767"/>
              <a:gd name="connsiteY200" fmla="*/ 287750 h 425767"/>
              <a:gd name="connsiteX201" fmla="*/ 69723 w 425767"/>
              <a:gd name="connsiteY201" fmla="*/ 283845 h 425767"/>
              <a:gd name="connsiteX202" fmla="*/ 64198 w 425767"/>
              <a:gd name="connsiteY202" fmla="*/ 278892 h 425767"/>
              <a:gd name="connsiteX203" fmla="*/ 45148 w 425767"/>
              <a:gd name="connsiteY203" fmla="*/ 271748 h 425767"/>
              <a:gd name="connsiteX204" fmla="*/ 23717 w 425767"/>
              <a:gd name="connsiteY204" fmla="*/ 265462 h 425767"/>
              <a:gd name="connsiteX205" fmla="*/ 29337 w 425767"/>
              <a:gd name="connsiteY205" fmla="*/ 142875 h 4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425767" h="425767">
                <a:moveTo>
                  <a:pt x="212979" y="0"/>
                </a:moveTo>
                <a:cubicBezTo>
                  <a:pt x="95407" y="-53"/>
                  <a:pt x="53" y="95216"/>
                  <a:pt x="0" y="212789"/>
                </a:cubicBezTo>
                <a:cubicBezTo>
                  <a:pt x="-53" y="330361"/>
                  <a:pt x="95216" y="425715"/>
                  <a:pt x="212789" y="425768"/>
                </a:cubicBezTo>
                <a:cubicBezTo>
                  <a:pt x="330361" y="425820"/>
                  <a:pt x="425715" y="330551"/>
                  <a:pt x="425767" y="212979"/>
                </a:cubicBezTo>
                <a:cubicBezTo>
                  <a:pt x="425767" y="212947"/>
                  <a:pt x="425768" y="212916"/>
                  <a:pt x="425768" y="212884"/>
                </a:cubicBezTo>
                <a:cubicBezTo>
                  <a:pt x="425663" y="95392"/>
                  <a:pt x="330471" y="158"/>
                  <a:pt x="212979" y="0"/>
                </a:cubicBezTo>
                <a:close/>
                <a:moveTo>
                  <a:pt x="409670" y="204407"/>
                </a:moveTo>
                <a:lnTo>
                  <a:pt x="406908" y="204407"/>
                </a:lnTo>
                <a:lnTo>
                  <a:pt x="393764" y="216218"/>
                </a:lnTo>
                <a:lnTo>
                  <a:pt x="390620" y="225743"/>
                </a:lnTo>
                <a:lnTo>
                  <a:pt x="389763" y="234410"/>
                </a:lnTo>
                <a:lnTo>
                  <a:pt x="376428" y="219075"/>
                </a:lnTo>
                <a:lnTo>
                  <a:pt x="370713" y="200597"/>
                </a:lnTo>
                <a:lnTo>
                  <a:pt x="364998" y="200597"/>
                </a:lnTo>
                <a:lnTo>
                  <a:pt x="354521" y="192024"/>
                </a:lnTo>
                <a:lnTo>
                  <a:pt x="343567" y="194501"/>
                </a:lnTo>
                <a:lnTo>
                  <a:pt x="332804" y="191262"/>
                </a:lnTo>
                <a:lnTo>
                  <a:pt x="320897" y="189929"/>
                </a:lnTo>
                <a:lnTo>
                  <a:pt x="314420" y="183071"/>
                </a:lnTo>
                <a:lnTo>
                  <a:pt x="308229" y="186023"/>
                </a:lnTo>
                <a:lnTo>
                  <a:pt x="322326" y="201073"/>
                </a:lnTo>
                <a:lnTo>
                  <a:pt x="334328" y="199073"/>
                </a:lnTo>
                <a:lnTo>
                  <a:pt x="339852" y="207264"/>
                </a:lnTo>
                <a:lnTo>
                  <a:pt x="330327" y="223361"/>
                </a:lnTo>
                <a:lnTo>
                  <a:pt x="310706" y="230410"/>
                </a:lnTo>
                <a:lnTo>
                  <a:pt x="302705" y="217551"/>
                </a:lnTo>
                <a:lnTo>
                  <a:pt x="290798" y="206597"/>
                </a:lnTo>
                <a:lnTo>
                  <a:pt x="283559" y="195167"/>
                </a:lnTo>
                <a:lnTo>
                  <a:pt x="283559" y="210979"/>
                </a:lnTo>
                <a:lnTo>
                  <a:pt x="312134" y="239554"/>
                </a:lnTo>
                <a:lnTo>
                  <a:pt x="326612" y="234601"/>
                </a:lnTo>
                <a:lnTo>
                  <a:pt x="327279" y="245555"/>
                </a:lnTo>
                <a:lnTo>
                  <a:pt x="312134" y="281845"/>
                </a:lnTo>
                <a:lnTo>
                  <a:pt x="314039" y="314420"/>
                </a:lnTo>
                <a:lnTo>
                  <a:pt x="303086" y="320993"/>
                </a:lnTo>
                <a:lnTo>
                  <a:pt x="310039" y="336423"/>
                </a:lnTo>
                <a:lnTo>
                  <a:pt x="302133" y="349758"/>
                </a:lnTo>
                <a:lnTo>
                  <a:pt x="291370" y="369284"/>
                </a:lnTo>
                <a:lnTo>
                  <a:pt x="275749" y="374333"/>
                </a:lnTo>
                <a:lnTo>
                  <a:pt x="267081" y="344138"/>
                </a:lnTo>
                <a:lnTo>
                  <a:pt x="254984" y="320993"/>
                </a:lnTo>
                <a:lnTo>
                  <a:pt x="254984" y="304229"/>
                </a:lnTo>
                <a:lnTo>
                  <a:pt x="240411" y="282512"/>
                </a:lnTo>
                <a:lnTo>
                  <a:pt x="241554" y="269272"/>
                </a:lnTo>
                <a:lnTo>
                  <a:pt x="233077" y="271558"/>
                </a:lnTo>
                <a:lnTo>
                  <a:pt x="227362" y="265176"/>
                </a:lnTo>
                <a:lnTo>
                  <a:pt x="201358" y="276225"/>
                </a:lnTo>
                <a:lnTo>
                  <a:pt x="189357" y="262604"/>
                </a:lnTo>
                <a:lnTo>
                  <a:pt x="181070" y="252317"/>
                </a:lnTo>
                <a:lnTo>
                  <a:pt x="181070" y="238125"/>
                </a:lnTo>
                <a:lnTo>
                  <a:pt x="178118" y="228600"/>
                </a:lnTo>
                <a:lnTo>
                  <a:pt x="190595" y="204978"/>
                </a:lnTo>
                <a:lnTo>
                  <a:pt x="189643" y="198596"/>
                </a:lnTo>
                <a:lnTo>
                  <a:pt x="194120" y="194501"/>
                </a:lnTo>
                <a:lnTo>
                  <a:pt x="194882" y="188309"/>
                </a:lnTo>
                <a:lnTo>
                  <a:pt x="205835" y="187547"/>
                </a:lnTo>
                <a:lnTo>
                  <a:pt x="218313" y="180975"/>
                </a:lnTo>
                <a:lnTo>
                  <a:pt x="229457" y="183928"/>
                </a:lnTo>
                <a:lnTo>
                  <a:pt x="237268" y="192024"/>
                </a:lnTo>
                <a:lnTo>
                  <a:pt x="249745" y="194405"/>
                </a:lnTo>
                <a:lnTo>
                  <a:pt x="254889" y="187928"/>
                </a:lnTo>
                <a:lnTo>
                  <a:pt x="284988" y="181832"/>
                </a:lnTo>
                <a:lnTo>
                  <a:pt x="283464" y="172307"/>
                </a:lnTo>
                <a:lnTo>
                  <a:pt x="273272" y="172307"/>
                </a:lnTo>
                <a:lnTo>
                  <a:pt x="274511" y="156020"/>
                </a:lnTo>
                <a:lnTo>
                  <a:pt x="291465" y="156496"/>
                </a:lnTo>
                <a:lnTo>
                  <a:pt x="295847" y="154781"/>
                </a:lnTo>
                <a:lnTo>
                  <a:pt x="288417" y="147733"/>
                </a:lnTo>
                <a:lnTo>
                  <a:pt x="286226" y="138208"/>
                </a:lnTo>
                <a:lnTo>
                  <a:pt x="280130" y="149066"/>
                </a:lnTo>
                <a:lnTo>
                  <a:pt x="273177" y="145542"/>
                </a:lnTo>
                <a:lnTo>
                  <a:pt x="265748" y="146876"/>
                </a:lnTo>
                <a:lnTo>
                  <a:pt x="265748" y="159068"/>
                </a:lnTo>
                <a:lnTo>
                  <a:pt x="262128" y="167735"/>
                </a:lnTo>
                <a:lnTo>
                  <a:pt x="260128" y="172593"/>
                </a:lnTo>
                <a:lnTo>
                  <a:pt x="249269" y="169736"/>
                </a:lnTo>
                <a:lnTo>
                  <a:pt x="239078" y="160211"/>
                </a:lnTo>
                <a:lnTo>
                  <a:pt x="242411" y="173069"/>
                </a:lnTo>
                <a:lnTo>
                  <a:pt x="238030" y="176213"/>
                </a:lnTo>
                <a:lnTo>
                  <a:pt x="240125" y="170498"/>
                </a:lnTo>
                <a:lnTo>
                  <a:pt x="222123" y="158591"/>
                </a:lnTo>
                <a:lnTo>
                  <a:pt x="211741" y="165449"/>
                </a:lnTo>
                <a:lnTo>
                  <a:pt x="204026" y="170212"/>
                </a:lnTo>
                <a:lnTo>
                  <a:pt x="201358" y="184023"/>
                </a:lnTo>
                <a:lnTo>
                  <a:pt x="185738" y="181928"/>
                </a:lnTo>
                <a:lnTo>
                  <a:pt x="189452" y="164116"/>
                </a:lnTo>
                <a:lnTo>
                  <a:pt x="201740" y="161925"/>
                </a:lnTo>
                <a:lnTo>
                  <a:pt x="192215" y="147542"/>
                </a:lnTo>
                <a:lnTo>
                  <a:pt x="205169" y="138779"/>
                </a:lnTo>
                <a:lnTo>
                  <a:pt x="212693" y="128588"/>
                </a:lnTo>
                <a:lnTo>
                  <a:pt x="209645" y="117920"/>
                </a:lnTo>
                <a:lnTo>
                  <a:pt x="214217" y="117920"/>
                </a:lnTo>
                <a:lnTo>
                  <a:pt x="221075" y="124968"/>
                </a:lnTo>
                <a:lnTo>
                  <a:pt x="241364" y="117920"/>
                </a:lnTo>
                <a:lnTo>
                  <a:pt x="243650" y="109157"/>
                </a:lnTo>
                <a:lnTo>
                  <a:pt x="251555" y="95250"/>
                </a:lnTo>
                <a:lnTo>
                  <a:pt x="239078" y="88202"/>
                </a:lnTo>
                <a:lnTo>
                  <a:pt x="230600" y="94298"/>
                </a:lnTo>
                <a:lnTo>
                  <a:pt x="234506" y="106013"/>
                </a:lnTo>
                <a:lnTo>
                  <a:pt x="229648" y="116777"/>
                </a:lnTo>
                <a:lnTo>
                  <a:pt x="211741" y="113252"/>
                </a:lnTo>
                <a:lnTo>
                  <a:pt x="205835" y="101251"/>
                </a:lnTo>
                <a:lnTo>
                  <a:pt x="224409" y="76200"/>
                </a:lnTo>
                <a:lnTo>
                  <a:pt x="242697" y="55626"/>
                </a:lnTo>
                <a:lnTo>
                  <a:pt x="257270" y="57150"/>
                </a:lnTo>
                <a:lnTo>
                  <a:pt x="270986" y="60103"/>
                </a:lnTo>
                <a:lnTo>
                  <a:pt x="277844" y="64008"/>
                </a:lnTo>
                <a:lnTo>
                  <a:pt x="270034" y="70104"/>
                </a:lnTo>
                <a:lnTo>
                  <a:pt x="274034" y="79153"/>
                </a:lnTo>
                <a:lnTo>
                  <a:pt x="286607" y="68866"/>
                </a:lnTo>
                <a:lnTo>
                  <a:pt x="291370" y="57531"/>
                </a:lnTo>
                <a:lnTo>
                  <a:pt x="293561" y="59627"/>
                </a:lnTo>
                <a:lnTo>
                  <a:pt x="296132" y="66675"/>
                </a:lnTo>
                <a:lnTo>
                  <a:pt x="317945" y="53626"/>
                </a:lnTo>
                <a:lnTo>
                  <a:pt x="322231" y="49054"/>
                </a:lnTo>
                <a:cubicBezTo>
                  <a:pt x="374565" y="83855"/>
                  <a:pt x="407073" y="141611"/>
                  <a:pt x="409670" y="204407"/>
                </a:cubicBezTo>
                <a:close/>
                <a:moveTo>
                  <a:pt x="162496" y="132779"/>
                </a:moveTo>
                <a:lnTo>
                  <a:pt x="169640" y="132779"/>
                </a:lnTo>
                <a:lnTo>
                  <a:pt x="174974" y="138113"/>
                </a:lnTo>
                <a:lnTo>
                  <a:pt x="184499" y="160782"/>
                </a:lnTo>
                <a:lnTo>
                  <a:pt x="169640" y="160782"/>
                </a:lnTo>
                <a:lnTo>
                  <a:pt x="169640" y="148304"/>
                </a:lnTo>
                <a:close/>
                <a:moveTo>
                  <a:pt x="113157" y="94107"/>
                </a:moveTo>
                <a:lnTo>
                  <a:pt x="117729" y="85725"/>
                </a:lnTo>
                <a:lnTo>
                  <a:pt x="113538" y="77629"/>
                </a:lnTo>
                <a:lnTo>
                  <a:pt x="104870" y="80486"/>
                </a:lnTo>
                <a:lnTo>
                  <a:pt x="104870" y="71914"/>
                </a:lnTo>
                <a:lnTo>
                  <a:pt x="87535" y="61246"/>
                </a:lnTo>
                <a:cubicBezTo>
                  <a:pt x="107566" y="44734"/>
                  <a:pt x="130638" y="32308"/>
                  <a:pt x="155448" y="24670"/>
                </a:cubicBezTo>
                <a:lnTo>
                  <a:pt x="166878" y="26575"/>
                </a:lnTo>
                <a:lnTo>
                  <a:pt x="181070" y="21717"/>
                </a:lnTo>
                <a:lnTo>
                  <a:pt x="190595" y="21717"/>
                </a:lnTo>
                <a:lnTo>
                  <a:pt x="177165" y="33147"/>
                </a:lnTo>
                <a:lnTo>
                  <a:pt x="173927" y="40958"/>
                </a:lnTo>
                <a:lnTo>
                  <a:pt x="178975" y="44482"/>
                </a:lnTo>
                <a:lnTo>
                  <a:pt x="175546" y="49054"/>
                </a:lnTo>
                <a:lnTo>
                  <a:pt x="175546" y="57150"/>
                </a:lnTo>
                <a:lnTo>
                  <a:pt x="177927" y="70295"/>
                </a:lnTo>
                <a:lnTo>
                  <a:pt x="165068" y="66675"/>
                </a:lnTo>
                <a:lnTo>
                  <a:pt x="169355" y="79534"/>
                </a:lnTo>
                <a:lnTo>
                  <a:pt x="158591" y="86392"/>
                </a:lnTo>
                <a:lnTo>
                  <a:pt x="147447" y="95250"/>
                </a:lnTo>
                <a:lnTo>
                  <a:pt x="136684" y="104775"/>
                </a:lnTo>
                <a:lnTo>
                  <a:pt x="133445" y="117920"/>
                </a:lnTo>
                <a:lnTo>
                  <a:pt x="118872" y="109347"/>
                </a:lnTo>
                <a:lnTo>
                  <a:pt x="113062" y="99822"/>
                </a:lnTo>
                <a:lnTo>
                  <a:pt x="116205" y="97346"/>
                </a:lnTo>
                <a:close/>
                <a:moveTo>
                  <a:pt x="29337" y="142875"/>
                </a:moveTo>
                <a:lnTo>
                  <a:pt x="34480" y="148971"/>
                </a:lnTo>
                <a:lnTo>
                  <a:pt x="40195" y="145542"/>
                </a:lnTo>
                <a:lnTo>
                  <a:pt x="59245" y="156972"/>
                </a:lnTo>
                <a:lnTo>
                  <a:pt x="67818" y="163830"/>
                </a:lnTo>
                <a:lnTo>
                  <a:pt x="63056" y="152400"/>
                </a:lnTo>
                <a:lnTo>
                  <a:pt x="67628" y="141542"/>
                </a:lnTo>
                <a:lnTo>
                  <a:pt x="59626" y="134588"/>
                </a:lnTo>
                <a:lnTo>
                  <a:pt x="65341" y="122587"/>
                </a:lnTo>
                <a:lnTo>
                  <a:pt x="81343" y="126683"/>
                </a:lnTo>
                <a:lnTo>
                  <a:pt x="80296" y="131445"/>
                </a:lnTo>
                <a:lnTo>
                  <a:pt x="90964" y="127159"/>
                </a:lnTo>
                <a:lnTo>
                  <a:pt x="101727" y="138684"/>
                </a:lnTo>
                <a:lnTo>
                  <a:pt x="111252" y="144399"/>
                </a:lnTo>
                <a:lnTo>
                  <a:pt x="108394" y="161925"/>
                </a:lnTo>
                <a:lnTo>
                  <a:pt x="89344" y="165926"/>
                </a:lnTo>
                <a:lnTo>
                  <a:pt x="101632" y="175451"/>
                </a:lnTo>
                <a:lnTo>
                  <a:pt x="104013" y="185928"/>
                </a:lnTo>
                <a:lnTo>
                  <a:pt x="96965" y="184118"/>
                </a:lnTo>
                <a:lnTo>
                  <a:pt x="89630" y="186309"/>
                </a:lnTo>
                <a:lnTo>
                  <a:pt x="83820" y="191167"/>
                </a:lnTo>
                <a:lnTo>
                  <a:pt x="78772" y="201263"/>
                </a:lnTo>
                <a:lnTo>
                  <a:pt x="80010" y="211931"/>
                </a:lnTo>
                <a:lnTo>
                  <a:pt x="70485" y="226695"/>
                </a:lnTo>
                <a:lnTo>
                  <a:pt x="73152" y="237363"/>
                </a:lnTo>
                <a:lnTo>
                  <a:pt x="71247" y="239459"/>
                </a:lnTo>
                <a:lnTo>
                  <a:pt x="61722" y="234696"/>
                </a:lnTo>
                <a:lnTo>
                  <a:pt x="50959" y="236696"/>
                </a:lnTo>
                <a:lnTo>
                  <a:pt x="48292" y="244031"/>
                </a:lnTo>
                <a:lnTo>
                  <a:pt x="41148" y="260985"/>
                </a:lnTo>
                <a:lnTo>
                  <a:pt x="48768" y="265081"/>
                </a:lnTo>
                <a:lnTo>
                  <a:pt x="53531" y="256985"/>
                </a:lnTo>
                <a:lnTo>
                  <a:pt x="59626" y="255937"/>
                </a:lnTo>
                <a:lnTo>
                  <a:pt x="59626" y="268510"/>
                </a:lnTo>
                <a:lnTo>
                  <a:pt x="66866" y="268510"/>
                </a:lnTo>
                <a:lnTo>
                  <a:pt x="70866" y="274796"/>
                </a:lnTo>
                <a:lnTo>
                  <a:pt x="80391" y="278321"/>
                </a:lnTo>
                <a:lnTo>
                  <a:pt x="89916" y="286512"/>
                </a:lnTo>
                <a:lnTo>
                  <a:pt x="92488" y="280702"/>
                </a:lnTo>
                <a:lnTo>
                  <a:pt x="112586" y="278321"/>
                </a:lnTo>
                <a:lnTo>
                  <a:pt x="138017" y="286131"/>
                </a:lnTo>
                <a:lnTo>
                  <a:pt x="148781" y="305753"/>
                </a:lnTo>
                <a:lnTo>
                  <a:pt x="181737" y="309658"/>
                </a:lnTo>
                <a:lnTo>
                  <a:pt x="185261" y="320421"/>
                </a:lnTo>
                <a:lnTo>
                  <a:pt x="179165" y="358521"/>
                </a:lnTo>
                <a:lnTo>
                  <a:pt x="162211" y="383381"/>
                </a:lnTo>
                <a:lnTo>
                  <a:pt x="156591" y="401384"/>
                </a:lnTo>
                <a:cubicBezTo>
                  <a:pt x="142772" y="397282"/>
                  <a:pt x="129451" y="391659"/>
                  <a:pt x="116872" y="384620"/>
                </a:cubicBezTo>
                <a:lnTo>
                  <a:pt x="116872" y="361093"/>
                </a:lnTo>
                <a:lnTo>
                  <a:pt x="97250" y="350711"/>
                </a:lnTo>
                <a:lnTo>
                  <a:pt x="84487" y="329184"/>
                </a:lnTo>
                <a:lnTo>
                  <a:pt x="84487" y="300133"/>
                </a:lnTo>
                <a:lnTo>
                  <a:pt x="87916" y="292418"/>
                </a:lnTo>
                <a:lnTo>
                  <a:pt x="84487" y="287750"/>
                </a:lnTo>
                <a:lnTo>
                  <a:pt x="69723" y="283845"/>
                </a:lnTo>
                <a:lnTo>
                  <a:pt x="64198" y="278892"/>
                </a:lnTo>
                <a:lnTo>
                  <a:pt x="45148" y="271748"/>
                </a:lnTo>
                <a:lnTo>
                  <a:pt x="23717" y="265462"/>
                </a:lnTo>
                <a:cubicBezTo>
                  <a:pt x="12167" y="225081"/>
                  <a:pt x="14141" y="182030"/>
                  <a:pt x="29337" y="142875"/>
                </a:cubicBezTo>
                <a:close/>
              </a:path>
            </a:pathLst>
          </a:custGeom>
          <a:solidFill>
            <a:srgbClr val="21A0D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9" name="Grafik 1943">
            <a:extLst>
              <a:ext uri="{FF2B5EF4-FFF2-40B4-BE49-F238E27FC236}">
                <a16:creationId xmlns:a16="http://schemas.microsoft.com/office/drawing/2014/main" id="{08C13FBD-3F9D-BB3B-5C62-ACDBE5EA4135}"/>
              </a:ext>
            </a:extLst>
          </p:cNvPr>
          <p:cNvSpPr>
            <a:spLocks noChangeAspect="1"/>
          </p:cNvSpPr>
          <p:nvPr/>
        </p:nvSpPr>
        <p:spPr>
          <a:xfrm>
            <a:off x="9390092" y="2992858"/>
            <a:ext cx="441291" cy="467737"/>
          </a:xfrm>
          <a:custGeom>
            <a:avLst/>
            <a:gdLst>
              <a:gd name="connsiteX0" fmla="*/ 271748 w 357568"/>
              <a:gd name="connsiteY0" fmla="*/ 0 h 378999"/>
              <a:gd name="connsiteX1" fmla="*/ 328994 w 357568"/>
              <a:gd name="connsiteY1" fmla="*/ 0 h 378999"/>
              <a:gd name="connsiteX2" fmla="*/ 357569 w 357568"/>
              <a:gd name="connsiteY2" fmla="*/ 379000 h 378999"/>
              <a:gd name="connsiteX3" fmla="*/ 255937 w 357568"/>
              <a:gd name="connsiteY3" fmla="*/ 379000 h 378999"/>
              <a:gd name="connsiteX4" fmla="*/ 255937 w 357568"/>
              <a:gd name="connsiteY4" fmla="*/ 379000 h 378999"/>
              <a:gd name="connsiteX5" fmla="*/ 0 w 357568"/>
              <a:gd name="connsiteY5" fmla="*/ 379000 h 378999"/>
              <a:gd name="connsiteX6" fmla="*/ 0 w 357568"/>
              <a:gd name="connsiteY6" fmla="*/ 253460 h 378999"/>
              <a:gd name="connsiteX7" fmla="*/ 0 w 357568"/>
              <a:gd name="connsiteY7" fmla="*/ 251841 h 378999"/>
              <a:gd name="connsiteX8" fmla="*/ 0 w 357568"/>
              <a:gd name="connsiteY8" fmla="*/ 173260 h 378999"/>
              <a:gd name="connsiteX9" fmla="*/ 77534 w 357568"/>
              <a:gd name="connsiteY9" fmla="*/ 232601 h 378999"/>
              <a:gd name="connsiteX10" fmla="*/ 77534 w 357568"/>
              <a:gd name="connsiteY10" fmla="*/ 173260 h 378999"/>
              <a:gd name="connsiteX11" fmla="*/ 151067 w 357568"/>
              <a:gd name="connsiteY11" fmla="*/ 229457 h 378999"/>
              <a:gd name="connsiteX12" fmla="*/ 151067 w 357568"/>
              <a:gd name="connsiteY12" fmla="*/ 173260 h 378999"/>
              <a:gd name="connsiteX13" fmla="*/ 252889 w 357568"/>
              <a:gd name="connsiteY13" fmla="*/ 251079 h 378999"/>
              <a:gd name="connsiteX14" fmla="*/ 271748 w 357568"/>
              <a:gd name="connsiteY14" fmla="*/ 0 h 378999"/>
              <a:gd name="connsiteX15" fmla="*/ 271748 w 357568"/>
              <a:gd name="connsiteY15" fmla="*/ 0 h 37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568" h="378999">
                <a:moveTo>
                  <a:pt x="271748" y="0"/>
                </a:moveTo>
                <a:lnTo>
                  <a:pt x="328994" y="0"/>
                </a:lnTo>
                <a:lnTo>
                  <a:pt x="357569" y="379000"/>
                </a:lnTo>
                <a:lnTo>
                  <a:pt x="255937" y="379000"/>
                </a:lnTo>
                <a:lnTo>
                  <a:pt x="255937" y="379000"/>
                </a:lnTo>
                <a:lnTo>
                  <a:pt x="0" y="379000"/>
                </a:lnTo>
                <a:lnTo>
                  <a:pt x="0" y="253460"/>
                </a:lnTo>
                <a:lnTo>
                  <a:pt x="0" y="251841"/>
                </a:lnTo>
                <a:lnTo>
                  <a:pt x="0" y="173260"/>
                </a:lnTo>
                <a:lnTo>
                  <a:pt x="77534" y="232601"/>
                </a:lnTo>
                <a:lnTo>
                  <a:pt x="77534" y="173260"/>
                </a:lnTo>
                <a:lnTo>
                  <a:pt x="151067" y="229457"/>
                </a:lnTo>
                <a:lnTo>
                  <a:pt x="151067" y="173260"/>
                </a:lnTo>
                <a:lnTo>
                  <a:pt x="252889" y="251079"/>
                </a:lnTo>
                <a:lnTo>
                  <a:pt x="271748" y="0"/>
                </a:lnTo>
                <a:lnTo>
                  <a:pt x="271748" y="0"/>
                </a:lnTo>
                <a:close/>
              </a:path>
            </a:pathLst>
          </a:custGeom>
          <a:solidFill>
            <a:srgbClr val="21A0D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0" name="Textplatzhalter 2">
            <a:extLst>
              <a:ext uri="{FF2B5EF4-FFF2-40B4-BE49-F238E27FC236}">
                <a16:creationId xmlns:a16="http://schemas.microsoft.com/office/drawing/2014/main" id="{9294BB1E-E131-EE04-44E3-80698C299410}"/>
              </a:ext>
            </a:extLst>
          </p:cNvPr>
          <p:cNvSpPr txBox="1">
            <a:spLocks/>
          </p:cNvSpPr>
          <p:nvPr/>
        </p:nvSpPr>
        <p:spPr>
          <a:xfrm>
            <a:off x="9917234" y="3195107"/>
            <a:ext cx="2046166" cy="86838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4A96"/>
                </a:solidFill>
                <a:effectLst/>
                <a:uLnTx/>
                <a:uFillTx/>
                <a:latin typeface="Arial" panose="020B0604020202020204"/>
                <a:cs typeface="Arial"/>
              </a:rPr>
              <a:t>235</a:t>
            </a:r>
            <a:endParaRPr kumimoji="0" lang="en-US" sz="2200" b="1" i="0" u="none" strike="noStrike" kern="1200" cap="none" spc="0" normalizeH="0" baseline="0" noProof="0" dirty="0">
              <a:ln>
                <a:noFill/>
              </a:ln>
              <a:solidFill>
                <a:srgbClr val="004A96"/>
              </a:solidFill>
              <a:effectLst/>
              <a:uLnTx/>
              <a:uFillTx/>
              <a:latin typeface="Arial" panose="020B0604020202020204"/>
              <a:cs typeface="Arial"/>
            </a:endParaRPr>
          </a:p>
        </p:txBody>
      </p:sp>
      <p:sp>
        <p:nvSpPr>
          <p:cNvPr id="21" name="Textplatzhalter 2">
            <a:extLst>
              <a:ext uri="{FF2B5EF4-FFF2-40B4-BE49-F238E27FC236}">
                <a16:creationId xmlns:a16="http://schemas.microsoft.com/office/drawing/2014/main" id="{0400DC09-FFA2-B6B4-29C9-8AB67C0EBDA7}"/>
              </a:ext>
            </a:extLst>
          </p:cNvPr>
          <p:cNvSpPr txBox="1">
            <a:spLocks/>
          </p:cNvSpPr>
          <p:nvPr/>
        </p:nvSpPr>
        <p:spPr>
          <a:xfrm>
            <a:off x="9986981" y="2943079"/>
            <a:ext cx="2088000" cy="191022"/>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Production sites</a:t>
            </a:r>
            <a:br>
              <a:rPr kumimoji="0" lang="en-US" sz="16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including six</a:t>
            </a:r>
            <a:br>
              <a:rPr kumimoji="0" lang="en-US" sz="1400" b="0"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Verbund sites</a:t>
            </a:r>
          </a:p>
        </p:txBody>
      </p:sp>
      <p:cxnSp>
        <p:nvCxnSpPr>
          <p:cNvPr id="22" name="Gerader Verbinder 21">
            <a:extLst>
              <a:ext uri="{FF2B5EF4-FFF2-40B4-BE49-F238E27FC236}">
                <a16:creationId xmlns:a16="http://schemas.microsoft.com/office/drawing/2014/main" id="{73157790-CC82-128C-DFEC-208849935063}"/>
              </a:ext>
            </a:extLst>
          </p:cNvPr>
          <p:cNvCxnSpPr>
            <a:cxnSpLocks/>
          </p:cNvCxnSpPr>
          <p:nvPr/>
        </p:nvCxnSpPr>
        <p:spPr>
          <a:xfrm>
            <a:off x="6275388" y="2835067"/>
            <a:ext cx="270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675AF548-AA34-97C7-A624-2C9C81215DD5}"/>
              </a:ext>
            </a:extLst>
          </p:cNvPr>
          <p:cNvSpPr txBox="1">
            <a:spLocks/>
          </p:cNvSpPr>
          <p:nvPr/>
        </p:nvSpPr>
        <p:spPr>
          <a:xfrm>
            <a:off x="6888324" y="2943079"/>
            <a:ext cx="2088000" cy="528914"/>
          </a:xfrm>
          <a:prstGeom prst="rect">
            <a:avLst/>
          </a:prstGeom>
          <a:noFill/>
        </p:spPr>
        <p:txBody>
          <a:bodyPr vert="horz" wrap="none"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Employees</a:t>
            </a:r>
            <a:br>
              <a:rPr kumimoji="0" lang="en-US" sz="16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s of December 31</a:t>
            </a:r>
            <a:r>
              <a:rPr kumimoji="0" lang="en-US" sz="1400" b="0" i="0" u="none" strike="noStrike" kern="1200" cap="none" spc="0" normalizeH="0" baseline="30000" noProof="0" dirty="0">
                <a:ln>
                  <a:noFill/>
                </a:ln>
                <a:solidFill>
                  <a:srgbClr val="000000"/>
                </a:solidFill>
                <a:effectLst/>
                <a:uLnTx/>
                <a:uFillTx/>
                <a:latin typeface="Arial" panose="020B0604020202020204"/>
                <a:cs typeface="Arial"/>
              </a:rPr>
              <a:t>st</a:t>
            </a: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br>
              <a:rPr kumimoji="0" lang="en-US" sz="1400" b="0"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2024</a:t>
            </a:r>
          </a:p>
        </p:txBody>
      </p:sp>
      <p:sp>
        <p:nvSpPr>
          <p:cNvPr id="24" name="Textplatzhalter 2">
            <a:extLst>
              <a:ext uri="{FF2B5EF4-FFF2-40B4-BE49-F238E27FC236}">
                <a16:creationId xmlns:a16="http://schemas.microsoft.com/office/drawing/2014/main" id="{896196BA-62E2-7AA5-30E0-313D39F47186}"/>
              </a:ext>
            </a:extLst>
          </p:cNvPr>
          <p:cNvSpPr txBox="1">
            <a:spLocks/>
          </p:cNvSpPr>
          <p:nvPr/>
        </p:nvSpPr>
        <p:spPr>
          <a:xfrm>
            <a:off x="6865547" y="3195107"/>
            <a:ext cx="2073834" cy="833135"/>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4A96"/>
                </a:solidFill>
                <a:effectLst/>
                <a:uLnTx/>
                <a:uFillTx/>
                <a:latin typeface="Arial" panose="020B0604020202020204"/>
                <a:cs typeface="Arial"/>
              </a:rPr>
              <a:t>111,822</a:t>
            </a:r>
            <a:endParaRPr kumimoji="0" lang="en-US" sz="2200" b="1" i="0" u="none" strike="noStrike" kern="1200" cap="none" spc="0" normalizeH="0" baseline="0" noProof="0" dirty="0">
              <a:ln>
                <a:noFill/>
              </a:ln>
              <a:solidFill>
                <a:srgbClr val="004A96"/>
              </a:solidFill>
              <a:effectLst/>
              <a:uLnTx/>
              <a:uFillTx/>
              <a:latin typeface="Arial" panose="020B0604020202020204"/>
              <a:cs typeface="Arial"/>
            </a:endParaRPr>
          </a:p>
        </p:txBody>
      </p:sp>
      <p:grpSp>
        <p:nvGrpSpPr>
          <p:cNvPr id="25" name="Grafik 1418">
            <a:extLst>
              <a:ext uri="{FF2B5EF4-FFF2-40B4-BE49-F238E27FC236}">
                <a16:creationId xmlns:a16="http://schemas.microsoft.com/office/drawing/2014/main" id="{3357F4DD-9A73-33B8-F96D-6BAF0CEAF08F}"/>
              </a:ext>
            </a:extLst>
          </p:cNvPr>
          <p:cNvGrpSpPr>
            <a:grpSpLocks noChangeAspect="1"/>
          </p:cNvGrpSpPr>
          <p:nvPr/>
        </p:nvGrpSpPr>
        <p:grpSpPr>
          <a:xfrm>
            <a:off x="6312818" y="2932337"/>
            <a:ext cx="428740" cy="468000"/>
            <a:chOff x="6195060" y="5339714"/>
            <a:chExt cx="362780" cy="395287"/>
          </a:xfrm>
          <a:solidFill>
            <a:srgbClr val="21A0D2"/>
          </a:solidFill>
        </p:grpSpPr>
        <p:grpSp>
          <p:nvGrpSpPr>
            <p:cNvPr id="26" name="Grafik 1418">
              <a:extLst>
                <a:ext uri="{FF2B5EF4-FFF2-40B4-BE49-F238E27FC236}">
                  <a16:creationId xmlns:a16="http://schemas.microsoft.com/office/drawing/2014/main" id="{265555FB-7423-9099-9BAB-683AC4E5FC6F}"/>
                </a:ext>
              </a:extLst>
            </p:cNvPr>
            <p:cNvGrpSpPr/>
            <p:nvPr/>
          </p:nvGrpSpPr>
          <p:grpSpPr>
            <a:xfrm>
              <a:off x="6383853" y="5426392"/>
              <a:ext cx="173987" cy="308609"/>
              <a:chOff x="6383853" y="5426392"/>
              <a:chExt cx="173987" cy="308609"/>
            </a:xfrm>
            <a:grpFill/>
          </p:grpSpPr>
          <p:sp>
            <p:nvSpPr>
              <p:cNvPr id="37" name="Freihandform: Form 36">
                <a:extLst>
                  <a:ext uri="{FF2B5EF4-FFF2-40B4-BE49-F238E27FC236}">
                    <a16:creationId xmlns:a16="http://schemas.microsoft.com/office/drawing/2014/main" id="{25AFF041-71FE-CB85-3466-2340AF2F2C21}"/>
                  </a:ext>
                </a:extLst>
              </p:cNvPr>
              <p:cNvSpPr/>
              <p:nvPr/>
            </p:nvSpPr>
            <p:spPr>
              <a:xfrm>
                <a:off x="6432232" y="5712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8" name="Freihandform: Form 37">
                <a:extLst>
                  <a:ext uri="{FF2B5EF4-FFF2-40B4-BE49-F238E27FC236}">
                    <a16:creationId xmlns:a16="http://schemas.microsoft.com/office/drawing/2014/main" id="{7F86E184-611B-53E5-389C-0CA6E9382A6E}"/>
                  </a:ext>
                </a:extLst>
              </p:cNvPr>
              <p:cNvSpPr/>
              <p:nvPr/>
            </p:nvSpPr>
            <p:spPr>
              <a:xfrm>
                <a:off x="6473189" y="5712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9" name="Freihandform: Form 38">
                <a:extLst>
                  <a:ext uri="{FF2B5EF4-FFF2-40B4-BE49-F238E27FC236}">
                    <a16:creationId xmlns:a16="http://schemas.microsoft.com/office/drawing/2014/main" id="{E810C1B5-F5A5-1F35-5047-DD597C6360C2}"/>
                  </a:ext>
                </a:extLst>
              </p:cNvPr>
              <p:cNvSpPr/>
              <p:nvPr/>
            </p:nvSpPr>
            <p:spPr>
              <a:xfrm>
                <a:off x="6383853" y="5426392"/>
                <a:ext cx="173987" cy="291464"/>
              </a:xfrm>
              <a:custGeom>
                <a:avLst/>
                <a:gdLst>
                  <a:gd name="connsiteX0" fmla="*/ 173157 w 173987"/>
                  <a:gd name="connsiteY0" fmla="*/ 114300 h 291464"/>
                  <a:gd name="connsiteX1" fmla="*/ 146487 w 173987"/>
                  <a:gd name="connsiteY1" fmla="*/ 27622 h 291464"/>
                  <a:gd name="connsiteX2" fmla="*/ 113149 w 173987"/>
                  <a:gd name="connsiteY2" fmla="*/ 0 h 291464"/>
                  <a:gd name="connsiteX3" fmla="*/ 60762 w 173987"/>
                  <a:gd name="connsiteY3" fmla="*/ 0 h 291464"/>
                  <a:gd name="connsiteX4" fmla="*/ 27424 w 173987"/>
                  <a:gd name="connsiteY4" fmla="*/ 27622 h 291464"/>
                  <a:gd name="connsiteX5" fmla="*/ 754 w 173987"/>
                  <a:gd name="connsiteY5" fmla="*/ 114300 h 291464"/>
                  <a:gd name="connsiteX6" fmla="*/ 10279 w 173987"/>
                  <a:gd name="connsiteY6" fmla="*/ 132397 h 291464"/>
                  <a:gd name="connsiteX7" fmla="*/ 14089 w 173987"/>
                  <a:gd name="connsiteY7" fmla="*/ 129540 h 291464"/>
                  <a:gd name="connsiteX8" fmla="*/ 16947 w 173987"/>
                  <a:gd name="connsiteY8" fmla="*/ 120015 h 291464"/>
                  <a:gd name="connsiteX9" fmla="*/ 18852 w 173987"/>
                  <a:gd name="connsiteY9" fmla="*/ 120968 h 291464"/>
                  <a:gd name="connsiteX10" fmla="*/ 15995 w 173987"/>
                  <a:gd name="connsiteY10" fmla="*/ 128588 h 291464"/>
                  <a:gd name="connsiteX11" fmla="*/ 16947 w 173987"/>
                  <a:gd name="connsiteY11" fmla="*/ 131445 h 291464"/>
                  <a:gd name="connsiteX12" fmla="*/ 24567 w 173987"/>
                  <a:gd name="connsiteY12" fmla="*/ 122872 h 291464"/>
                  <a:gd name="connsiteX13" fmla="*/ 48379 w 173987"/>
                  <a:gd name="connsiteY13" fmla="*/ 42863 h 291464"/>
                  <a:gd name="connsiteX14" fmla="*/ 55047 w 173987"/>
                  <a:gd name="connsiteY14" fmla="*/ 42863 h 291464"/>
                  <a:gd name="connsiteX15" fmla="*/ 14089 w 173987"/>
                  <a:gd name="connsiteY15" fmla="*/ 184785 h 291464"/>
                  <a:gd name="connsiteX16" fmla="*/ 52189 w 173987"/>
                  <a:gd name="connsiteY16" fmla="*/ 184785 h 291464"/>
                  <a:gd name="connsiteX17" fmla="*/ 52189 w 173987"/>
                  <a:gd name="connsiteY17" fmla="*/ 290513 h 291464"/>
                  <a:gd name="connsiteX18" fmla="*/ 66477 w 173987"/>
                  <a:gd name="connsiteY18" fmla="*/ 283845 h 291464"/>
                  <a:gd name="connsiteX19" fmla="*/ 80764 w 173987"/>
                  <a:gd name="connsiteY19" fmla="*/ 290513 h 291464"/>
                  <a:gd name="connsiteX20" fmla="*/ 80764 w 173987"/>
                  <a:gd name="connsiteY20" fmla="*/ 184785 h 291464"/>
                  <a:gd name="connsiteX21" fmla="*/ 92195 w 173987"/>
                  <a:gd name="connsiteY21" fmla="*/ 184785 h 291464"/>
                  <a:gd name="connsiteX22" fmla="*/ 92195 w 173987"/>
                  <a:gd name="connsiteY22" fmla="*/ 291465 h 291464"/>
                  <a:gd name="connsiteX23" fmla="*/ 107434 w 173987"/>
                  <a:gd name="connsiteY23" fmla="*/ 283845 h 291464"/>
                  <a:gd name="connsiteX24" fmla="*/ 120770 w 173987"/>
                  <a:gd name="connsiteY24" fmla="*/ 289560 h 291464"/>
                  <a:gd name="connsiteX25" fmla="*/ 120770 w 173987"/>
                  <a:gd name="connsiteY25" fmla="*/ 185738 h 291464"/>
                  <a:gd name="connsiteX26" fmla="*/ 158870 w 173987"/>
                  <a:gd name="connsiteY26" fmla="*/ 185738 h 291464"/>
                  <a:gd name="connsiteX27" fmla="*/ 117912 w 173987"/>
                  <a:gd name="connsiteY27" fmla="*/ 43815 h 291464"/>
                  <a:gd name="connsiteX28" fmla="*/ 124579 w 173987"/>
                  <a:gd name="connsiteY28" fmla="*/ 43815 h 291464"/>
                  <a:gd name="connsiteX29" fmla="*/ 148392 w 173987"/>
                  <a:gd name="connsiteY29" fmla="*/ 123825 h 291464"/>
                  <a:gd name="connsiteX30" fmla="*/ 155059 w 173987"/>
                  <a:gd name="connsiteY30" fmla="*/ 133350 h 291464"/>
                  <a:gd name="connsiteX31" fmla="*/ 156012 w 173987"/>
                  <a:gd name="connsiteY31" fmla="*/ 130493 h 291464"/>
                  <a:gd name="connsiteX32" fmla="*/ 153154 w 173987"/>
                  <a:gd name="connsiteY32" fmla="*/ 122872 h 291464"/>
                  <a:gd name="connsiteX33" fmla="*/ 155059 w 173987"/>
                  <a:gd name="connsiteY33" fmla="*/ 121920 h 291464"/>
                  <a:gd name="connsiteX34" fmla="*/ 157917 w 173987"/>
                  <a:gd name="connsiteY34" fmla="*/ 131445 h 291464"/>
                  <a:gd name="connsiteX35" fmla="*/ 162679 w 173987"/>
                  <a:gd name="connsiteY35" fmla="*/ 134302 h 291464"/>
                  <a:gd name="connsiteX36" fmla="*/ 173157 w 173987"/>
                  <a:gd name="connsiteY36" fmla="*/ 114300 h 29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3987" h="291464">
                    <a:moveTo>
                      <a:pt x="173157" y="114300"/>
                    </a:moveTo>
                    <a:lnTo>
                      <a:pt x="146487" y="27622"/>
                    </a:lnTo>
                    <a:cubicBezTo>
                      <a:pt x="143629" y="18097"/>
                      <a:pt x="134104" y="0"/>
                      <a:pt x="113149" y="0"/>
                    </a:cubicBezTo>
                    <a:lnTo>
                      <a:pt x="60762" y="0"/>
                    </a:lnTo>
                    <a:cubicBezTo>
                      <a:pt x="38854" y="0"/>
                      <a:pt x="30282" y="17145"/>
                      <a:pt x="27424" y="27622"/>
                    </a:cubicBezTo>
                    <a:lnTo>
                      <a:pt x="754" y="114300"/>
                    </a:lnTo>
                    <a:cubicBezTo>
                      <a:pt x="-2103" y="124777"/>
                      <a:pt x="3612" y="131445"/>
                      <a:pt x="10279" y="132397"/>
                    </a:cubicBezTo>
                    <a:cubicBezTo>
                      <a:pt x="12184" y="132397"/>
                      <a:pt x="14089" y="132397"/>
                      <a:pt x="14089" y="129540"/>
                    </a:cubicBezTo>
                    <a:lnTo>
                      <a:pt x="16947" y="120015"/>
                    </a:lnTo>
                    <a:lnTo>
                      <a:pt x="18852" y="120968"/>
                    </a:lnTo>
                    <a:lnTo>
                      <a:pt x="15995" y="128588"/>
                    </a:lnTo>
                    <a:cubicBezTo>
                      <a:pt x="15995" y="128588"/>
                      <a:pt x="15042" y="130493"/>
                      <a:pt x="16947" y="131445"/>
                    </a:cubicBezTo>
                    <a:cubicBezTo>
                      <a:pt x="19804" y="129540"/>
                      <a:pt x="22662" y="126682"/>
                      <a:pt x="24567" y="122872"/>
                    </a:cubicBezTo>
                    <a:lnTo>
                      <a:pt x="48379" y="42863"/>
                    </a:lnTo>
                    <a:lnTo>
                      <a:pt x="55047" y="42863"/>
                    </a:lnTo>
                    <a:lnTo>
                      <a:pt x="14089" y="184785"/>
                    </a:lnTo>
                    <a:lnTo>
                      <a:pt x="52189" y="184785"/>
                    </a:lnTo>
                    <a:lnTo>
                      <a:pt x="52189" y="290513"/>
                    </a:lnTo>
                    <a:cubicBezTo>
                      <a:pt x="55999" y="286702"/>
                      <a:pt x="60762" y="283845"/>
                      <a:pt x="66477" y="283845"/>
                    </a:cubicBezTo>
                    <a:cubicBezTo>
                      <a:pt x="72192" y="283845"/>
                      <a:pt x="76954" y="286702"/>
                      <a:pt x="80764" y="290513"/>
                    </a:cubicBezTo>
                    <a:lnTo>
                      <a:pt x="80764" y="184785"/>
                    </a:lnTo>
                    <a:lnTo>
                      <a:pt x="92195" y="184785"/>
                    </a:lnTo>
                    <a:lnTo>
                      <a:pt x="92195" y="291465"/>
                    </a:lnTo>
                    <a:cubicBezTo>
                      <a:pt x="96004" y="286702"/>
                      <a:pt x="101720" y="283845"/>
                      <a:pt x="107434" y="283845"/>
                    </a:cubicBezTo>
                    <a:cubicBezTo>
                      <a:pt x="112197" y="283845"/>
                      <a:pt x="116959" y="285750"/>
                      <a:pt x="120770" y="289560"/>
                    </a:cubicBezTo>
                    <a:lnTo>
                      <a:pt x="120770" y="185738"/>
                    </a:lnTo>
                    <a:lnTo>
                      <a:pt x="158870" y="185738"/>
                    </a:lnTo>
                    <a:lnTo>
                      <a:pt x="117912" y="43815"/>
                    </a:lnTo>
                    <a:lnTo>
                      <a:pt x="124579" y="43815"/>
                    </a:lnTo>
                    <a:lnTo>
                      <a:pt x="148392" y="123825"/>
                    </a:lnTo>
                    <a:cubicBezTo>
                      <a:pt x="150297" y="128588"/>
                      <a:pt x="152202" y="131445"/>
                      <a:pt x="155059" y="133350"/>
                    </a:cubicBezTo>
                    <a:cubicBezTo>
                      <a:pt x="156012" y="133350"/>
                      <a:pt x="156012" y="130493"/>
                      <a:pt x="156012" y="130493"/>
                    </a:cubicBezTo>
                    <a:lnTo>
                      <a:pt x="153154" y="122872"/>
                    </a:lnTo>
                    <a:lnTo>
                      <a:pt x="155059" y="121920"/>
                    </a:lnTo>
                    <a:lnTo>
                      <a:pt x="157917" y="131445"/>
                    </a:lnTo>
                    <a:cubicBezTo>
                      <a:pt x="158870" y="134302"/>
                      <a:pt x="160774" y="134302"/>
                      <a:pt x="162679" y="134302"/>
                    </a:cubicBezTo>
                    <a:cubicBezTo>
                      <a:pt x="171252" y="131445"/>
                      <a:pt x="176014" y="124777"/>
                      <a:pt x="173157" y="11430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grpSp>
          <p:nvGrpSpPr>
            <p:cNvPr id="27" name="Grafik 1418">
              <a:extLst>
                <a:ext uri="{FF2B5EF4-FFF2-40B4-BE49-F238E27FC236}">
                  <a16:creationId xmlns:a16="http://schemas.microsoft.com/office/drawing/2014/main" id="{D0569CE8-04B8-D47D-20D7-B5F8D506455B}"/>
                </a:ext>
              </a:extLst>
            </p:cNvPr>
            <p:cNvGrpSpPr/>
            <p:nvPr/>
          </p:nvGrpSpPr>
          <p:grpSpPr>
            <a:xfrm>
              <a:off x="6436994" y="5339714"/>
              <a:ext cx="68580" cy="80009"/>
              <a:chOff x="6436994" y="5339714"/>
              <a:chExt cx="68580" cy="80009"/>
            </a:xfrm>
            <a:grpFill/>
          </p:grpSpPr>
          <p:sp>
            <p:nvSpPr>
              <p:cNvPr id="35" name="Freihandform: Form 34">
                <a:extLst>
                  <a:ext uri="{FF2B5EF4-FFF2-40B4-BE49-F238E27FC236}">
                    <a16:creationId xmlns:a16="http://schemas.microsoft.com/office/drawing/2014/main" id="{D304F4AD-9552-DFF0-DC7B-4B636B251AF1}"/>
                  </a:ext>
                </a:extLst>
              </p:cNvPr>
              <p:cNvSpPr/>
              <p:nvPr/>
            </p:nvSpPr>
            <p:spPr>
              <a:xfrm>
                <a:off x="6440805" y="5374004"/>
                <a:ext cx="60959" cy="45719"/>
              </a:xfrm>
              <a:custGeom>
                <a:avLst/>
                <a:gdLst>
                  <a:gd name="connsiteX0" fmla="*/ 3810 w 60959"/>
                  <a:gd name="connsiteY0" fmla="*/ 0 h 45719"/>
                  <a:gd name="connsiteX1" fmla="*/ 0 w 60959"/>
                  <a:gd name="connsiteY1" fmla="*/ 15240 h 45719"/>
                  <a:gd name="connsiteX2" fmla="*/ 30480 w 60959"/>
                  <a:gd name="connsiteY2" fmla="*/ 45720 h 45719"/>
                  <a:gd name="connsiteX3" fmla="*/ 60960 w 60959"/>
                  <a:gd name="connsiteY3" fmla="*/ 15240 h 45719"/>
                  <a:gd name="connsiteX4" fmla="*/ 57150 w 60959"/>
                  <a:gd name="connsiteY4" fmla="*/ 0 h 45719"/>
                  <a:gd name="connsiteX5" fmla="*/ 3810 w 60959"/>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 h="45719">
                    <a:moveTo>
                      <a:pt x="3810" y="0"/>
                    </a:moveTo>
                    <a:cubicBezTo>
                      <a:pt x="952" y="4763"/>
                      <a:pt x="0" y="9525"/>
                      <a:pt x="0" y="15240"/>
                    </a:cubicBezTo>
                    <a:cubicBezTo>
                      <a:pt x="0" y="32385"/>
                      <a:pt x="13335"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6" name="Freihandform: Form 35">
                <a:extLst>
                  <a:ext uri="{FF2B5EF4-FFF2-40B4-BE49-F238E27FC236}">
                    <a16:creationId xmlns:a16="http://schemas.microsoft.com/office/drawing/2014/main" id="{CF77A0EF-85C6-1305-94F1-9E7258ECC07C}"/>
                  </a:ext>
                </a:extLst>
              </p:cNvPr>
              <p:cNvSpPr/>
              <p:nvPr/>
            </p:nvSpPr>
            <p:spPr>
              <a:xfrm>
                <a:off x="6436994" y="5339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grpSp>
          <p:nvGrpSpPr>
            <p:cNvPr id="28" name="Grafik 1418">
              <a:extLst>
                <a:ext uri="{FF2B5EF4-FFF2-40B4-BE49-F238E27FC236}">
                  <a16:creationId xmlns:a16="http://schemas.microsoft.com/office/drawing/2014/main" id="{1C291A19-44F3-DAD3-6544-09F60C6D0BDB}"/>
                </a:ext>
              </a:extLst>
            </p:cNvPr>
            <p:cNvGrpSpPr/>
            <p:nvPr/>
          </p:nvGrpSpPr>
          <p:grpSpPr>
            <a:xfrm>
              <a:off x="6195060" y="5426392"/>
              <a:ext cx="138517" cy="308609"/>
              <a:chOff x="6195060" y="5426392"/>
              <a:chExt cx="138517" cy="308609"/>
            </a:xfrm>
            <a:grpFill/>
          </p:grpSpPr>
          <p:sp>
            <p:nvSpPr>
              <p:cNvPr id="32" name="Freihandform: Form 31">
                <a:extLst>
                  <a:ext uri="{FF2B5EF4-FFF2-40B4-BE49-F238E27FC236}">
                    <a16:creationId xmlns:a16="http://schemas.microsoft.com/office/drawing/2014/main" id="{0BEAC233-2F5A-AF39-AA1F-506802C0740C}"/>
                  </a:ext>
                </a:extLst>
              </p:cNvPr>
              <p:cNvSpPr/>
              <p:nvPr/>
            </p:nvSpPr>
            <p:spPr>
              <a:xfrm>
                <a:off x="6267450" y="5712142"/>
                <a:ext cx="38100" cy="22859"/>
              </a:xfrm>
              <a:custGeom>
                <a:avLst/>
                <a:gdLst>
                  <a:gd name="connsiteX0" fmla="*/ 25718 w 38100"/>
                  <a:gd name="connsiteY0" fmla="*/ 22860 h 22859"/>
                  <a:gd name="connsiteX1" fmla="*/ 38100 w 38100"/>
                  <a:gd name="connsiteY1" fmla="*/ 22860 h 22859"/>
                  <a:gd name="connsiteX2" fmla="*/ 37148 w 38100"/>
                  <a:gd name="connsiteY2" fmla="*/ 17145 h 22859"/>
                  <a:gd name="connsiteX3" fmla="*/ 37148 w 38100"/>
                  <a:gd name="connsiteY3" fmla="*/ 16193 h 22859"/>
                  <a:gd name="connsiteX4" fmla="*/ 35243 w 38100"/>
                  <a:gd name="connsiteY4" fmla="*/ 11430 h 22859"/>
                  <a:gd name="connsiteX5" fmla="*/ 19050 w 38100"/>
                  <a:gd name="connsiteY5" fmla="*/ 0 h 22859"/>
                  <a:gd name="connsiteX6" fmla="*/ 2857 w 38100"/>
                  <a:gd name="connsiteY6" fmla="*/ 11430 h 22859"/>
                  <a:gd name="connsiteX7" fmla="*/ 2857 w 38100"/>
                  <a:gd name="connsiteY7" fmla="*/ 11430 h 22859"/>
                  <a:gd name="connsiteX8" fmla="*/ 952 w 38100"/>
                  <a:gd name="connsiteY8" fmla="*/ 16193 h 22859"/>
                  <a:gd name="connsiteX9" fmla="*/ 952 w 38100"/>
                  <a:gd name="connsiteY9" fmla="*/ 17145 h 22859"/>
                  <a:gd name="connsiteX10" fmla="*/ 0 w 38100"/>
                  <a:gd name="connsiteY10" fmla="*/ 22860 h 22859"/>
                  <a:gd name="connsiteX11" fmla="*/ 12382 w 38100"/>
                  <a:gd name="connsiteY11" fmla="*/ 22860 h 22859"/>
                  <a:gd name="connsiteX12" fmla="*/ 25718 w 38100"/>
                  <a:gd name="connsiteY12" fmla="*/ 22860 h 2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22859">
                    <a:moveTo>
                      <a:pt x="25718" y="22860"/>
                    </a:moveTo>
                    <a:lnTo>
                      <a:pt x="38100" y="22860"/>
                    </a:lnTo>
                    <a:cubicBezTo>
                      <a:pt x="38100" y="20955"/>
                      <a:pt x="38100" y="19050"/>
                      <a:pt x="37148" y="17145"/>
                    </a:cubicBezTo>
                    <a:cubicBezTo>
                      <a:pt x="37148" y="17145"/>
                      <a:pt x="37148" y="17145"/>
                      <a:pt x="37148" y="16193"/>
                    </a:cubicBezTo>
                    <a:cubicBezTo>
                      <a:pt x="37148" y="14288"/>
                      <a:pt x="36195" y="13335"/>
                      <a:pt x="35243" y="11430"/>
                    </a:cubicBezTo>
                    <a:cubicBezTo>
                      <a:pt x="32385" y="4763"/>
                      <a:pt x="25718" y="0"/>
                      <a:pt x="19050" y="0"/>
                    </a:cubicBezTo>
                    <a:cubicBezTo>
                      <a:pt x="12382" y="0"/>
                      <a:pt x="5715" y="4763"/>
                      <a:pt x="2857" y="11430"/>
                    </a:cubicBezTo>
                    <a:lnTo>
                      <a:pt x="2857" y="11430"/>
                    </a:lnTo>
                    <a:cubicBezTo>
                      <a:pt x="1905" y="13335"/>
                      <a:pt x="1905" y="14288"/>
                      <a:pt x="952" y="16193"/>
                    </a:cubicBezTo>
                    <a:cubicBezTo>
                      <a:pt x="952" y="16193"/>
                      <a:pt x="952" y="16193"/>
                      <a:pt x="952" y="17145"/>
                    </a:cubicBezTo>
                    <a:cubicBezTo>
                      <a:pt x="952" y="19050"/>
                      <a:pt x="0" y="20955"/>
                      <a:pt x="0" y="22860"/>
                    </a:cubicBezTo>
                    <a:lnTo>
                      <a:pt x="12382" y="22860"/>
                    </a:lnTo>
                    <a:lnTo>
                      <a:pt x="25718" y="22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3" name="Freihandform: Form 32">
                <a:extLst>
                  <a:ext uri="{FF2B5EF4-FFF2-40B4-BE49-F238E27FC236}">
                    <a16:creationId xmlns:a16="http://schemas.microsoft.com/office/drawing/2014/main" id="{FFF5E7F6-5C87-3764-7BCE-EA4E61D530B9}"/>
                  </a:ext>
                </a:extLst>
              </p:cNvPr>
              <p:cNvSpPr/>
              <p:nvPr/>
            </p:nvSpPr>
            <p:spPr>
              <a:xfrm>
                <a:off x="6195060" y="5426392"/>
                <a:ext cx="138517" cy="292417"/>
              </a:xfrm>
              <a:custGeom>
                <a:avLst/>
                <a:gdLst>
                  <a:gd name="connsiteX0" fmla="*/ 104775 w 138517"/>
                  <a:gd name="connsiteY0" fmla="*/ 0 h 292417"/>
                  <a:gd name="connsiteX1" fmla="*/ 35242 w 138517"/>
                  <a:gd name="connsiteY1" fmla="*/ 0 h 292417"/>
                  <a:gd name="connsiteX2" fmla="*/ 0 w 138517"/>
                  <a:gd name="connsiteY2" fmla="*/ 40005 h 292417"/>
                  <a:gd name="connsiteX3" fmla="*/ 0 w 138517"/>
                  <a:gd name="connsiteY3" fmla="*/ 134302 h 292417"/>
                  <a:gd name="connsiteX4" fmla="*/ 17145 w 138517"/>
                  <a:gd name="connsiteY4" fmla="*/ 146685 h 292417"/>
                  <a:gd name="connsiteX5" fmla="*/ 18097 w 138517"/>
                  <a:gd name="connsiteY5" fmla="*/ 143827 h 292417"/>
                  <a:gd name="connsiteX6" fmla="*/ 18097 w 138517"/>
                  <a:gd name="connsiteY6" fmla="*/ 133350 h 292417"/>
                  <a:gd name="connsiteX7" fmla="*/ 20002 w 138517"/>
                  <a:gd name="connsiteY7" fmla="*/ 133350 h 292417"/>
                  <a:gd name="connsiteX8" fmla="*/ 20002 w 138517"/>
                  <a:gd name="connsiteY8" fmla="*/ 141922 h 292417"/>
                  <a:gd name="connsiteX9" fmla="*/ 20002 w 138517"/>
                  <a:gd name="connsiteY9" fmla="*/ 142875 h 292417"/>
                  <a:gd name="connsiteX10" fmla="*/ 22860 w 138517"/>
                  <a:gd name="connsiteY10" fmla="*/ 133350 h 292417"/>
                  <a:gd name="connsiteX11" fmla="*/ 22860 w 138517"/>
                  <a:gd name="connsiteY11" fmla="*/ 40957 h 292417"/>
                  <a:gd name="connsiteX12" fmla="*/ 30480 w 138517"/>
                  <a:gd name="connsiteY12" fmla="*/ 40957 h 292417"/>
                  <a:gd name="connsiteX13" fmla="*/ 30480 w 138517"/>
                  <a:gd name="connsiteY13" fmla="*/ 291465 h 292417"/>
                  <a:gd name="connsiteX14" fmla="*/ 30480 w 138517"/>
                  <a:gd name="connsiteY14" fmla="*/ 292418 h 292417"/>
                  <a:gd name="connsiteX15" fmla="*/ 47625 w 138517"/>
                  <a:gd name="connsiteY15" fmla="*/ 281940 h 292417"/>
                  <a:gd name="connsiteX16" fmla="*/ 64770 w 138517"/>
                  <a:gd name="connsiteY16" fmla="*/ 292418 h 292417"/>
                  <a:gd name="connsiteX17" fmla="*/ 64770 w 138517"/>
                  <a:gd name="connsiteY17" fmla="*/ 291465 h 292417"/>
                  <a:gd name="connsiteX18" fmla="*/ 64770 w 138517"/>
                  <a:gd name="connsiteY18" fmla="*/ 146685 h 292417"/>
                  <a:gd name="connsiteX19" fmla="*/ 72390 w 138517"/>
                  <a:gd name="connsiteY19" fmla="*/ 146685 h 292417"/>
                  <a:gd name="connsiteX20" fmla="*/ 72390 w 138517"/>
                  <a:gd name="connsiteY20" fmla="*/ 291465 h 292417"/>
                  <a:gd name="connsiteX21" fmla="*/ 72390 w 138517"/>
                  <a:gd name="connsiteY21" fmla="*/ 292418 h 292417"/>
                  <a:gd name="connsiteX22" fmla="*/ 89535 w 138517"/>
                  <a:gd name="connsiteY22" fmla="*/ 281940 h 292417"/>
                  <a:gd name="connsiteX23" fmla="*/ 106680 w 138517"/>
                  <a:gd name="connsiteY23" fmla="*/ 292418 h 292417"/>
                  <a:gd name="connsiteX24" fmla="*/ 106680 w 138517"/>
                  <a:gd name="connsiteY24" fmla="*/ 291465 h 292417"/>
                  <a:gd name="connsiteX25" fmla="*/ 106680 w 138517"/>
                  <a:gd name="connsiteY25" fmla="*/ 40957 h 292417"/>
                  <a:gd name="connsiteX26" fmla="*/ 114300 w 138517"/>
                  <a:gd name="connsiteY26" fmla="*/ 40957 h 292417"/>
                  <a:gd name="connsiteX27" fmla="*/ 114300 w 138517"/>
                  <a:gd name="connsiteY27" fmla="*/ 133350 h 292417"/>
                  <a:gd name="connsiteX28" fmla="*/ 118110 w 138517"/>
                  <a:gd name="connsiteY28" fmla="*/ 143827 h 292417"/>
                  <a:gd name="connsiteX29" fmla="*/ 119063 w 138517"/>
                  <a:gd name="connsiteY29" fmla="*/ 141922 h 292417"/>
                  <a:gd name="connsiteX30" fmla="*/ 119063 w 138517"/>
                  <a:gd name="connsiteY30" fmla="*/ 133350 h 292417"/>
                  <a:gd name="connsiteX31" fmla="*/ 120967 w 138517"/>
                  <a:gd name="connsiteY31" fmla="*/ 133350 h 292417"/>
                  <a:gd name="connsiteX32" fmla="*/ 120967 w 138517"/>
                  <a:gd name="connsiteY32" fmla="*/ 143827 h 292417"/>
                  <a:gd name="connsiteX33" fmla="*/ 122872 w 138517"/>
                  <a:gd name="connsiteY33" fmla="*/ 146685 h 292417"/>
                  <a:gd name="connsiteX34" fmla="*/ 138113 w 138517"/>
                  <a:gd name="connsiteY34" fmla="*/ 133350 h 292417"/>
                  <a:gd name="connsiteX35" fmla="*/ 138113 w 138517"/>
                  <a:gd name="connsiteY35" fmla="*/ 39052 h 292417"/>
                  <a:gd name="connsiteX36" fmla="*/ 104775 w 138517"/>
                  <a:gd name="connsiteY36" fmla="*/ 0 h 29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517" h="292417">
                    <a:moveTo>
                      <a:pt x="104775" y="0"/>
                    </a:moveTo>
                    <a:lnTo>
                      <a:pt x="35242" y="0"/>
                    </a:lnTo>
                    <a:cubicBezTo>
                      <a:pt x="13335" y="0"/>
                      <a:pt x="0" y="18097"/>
                      <a:pt x="0" y="40005"/>
                    </a:cubicBezTo>
                    <a:lnTo>
                      <a:pt x="0" y="134302"/>
                    </a:lnTo>
                    <a:cubicBezTo>
                      <a:pt x="0" y="146685"/>
                      <a:pt x="10477" y="150495"/>
                      <a:pt x="17145" y="146685"/>
                    </a:cubicBezTo>
                    <a:cubicBezTo>
                      <a:pt x="18097" y="145732"/>
                      <a:pt x="18097" y="145732"/>
                      <a:pt x="18097" y="143827"/>
                    </a:cubicBezTo>
                    <a:lnTo>
                      <a:pt x="18097" y="133350"/>
                    </a:lnTo>
                    <a:lnTo>
                      <a:pt x="20002" y="133350"/>
                    </a:lnTo>
                    <a:lnTo>
                      <a:pt x="20002" y="141922"/>
                    </a:lnTo>
                    <a:lnTo>
                      <a:pt x="20002" y="142875"/>
                    </a:lnTo>
                    <a:cubicBezTo>
                      <a:pt x="21907" y="140970"/>
                      <a:pt x="22860" y="137160"/>
                      <a:pt x="22860" y="133350"/>
                    </a:cubicBezTo>
                    <a:lnTo>
                      <a:pt x="22860" y="40957"/>
                    </a:lnTo>
                    <a:lnTo>
                      <a:pt x="30480" y="40957"/>
                    </a:lnTo>
                    <a:lnTo>
                      <a:pt x="30480" y="291465"/>
                    </a:lnTo>
                    <a:lnTo>
                      <a:pt x="30480" y="292418"/>
                    </a:lnTo>
                    <a:cubicBezTo>
                      <a:pt x="34290" y="285750"/>
                      <a:pt x="40957" y="281940"/>
                      <a:pt x="47625" y="281940"/>
                    </a:cubicBezTo>
                    <a:cubicBezTo>
                      <a:pt x="54292" y="281940"/>
                      <a:pt x="60960" y="285750"/>
                      <a:pt x="64770" y="292418"/>
                    </a:cubicBezTo>
                    <a:lnTo>
                      <a:pt x="64770" y="291465"/>
                    </a:lnTo>
                    <a:lnTo>
                      <a:pt x="64770" y="146685"/>
                    </a:lnTo>
                    <a:lnTo>
                      <a:pt x="72390" y="146685"/>
                    </a:lnTo>
                    <a:lnTo>
                      <a:pt x="72390" y="291465"/>
                    </a:lnTo>
                    <a:lnTo>
                      <a:pt x="72390" y="292418"/>
                    </a:lnTo>
                    <a:cubicBezTo>
                      <a:pt x="76200" y="285750"/>
                      <a:pt x="82867" y="281940"/>
                      <a:pt x="89535" y="281940"/>
                    </a:cubicBezTo>
                    <a:cubicBezTo>
                      <a:pt x="96202" y="281940"/>
                      <a:pt x="102870" y="285750"/>
                      <a:pt x="106680" y="292418"/>
                    </a:cubicBezTo>
                    <a:lnTo>
                      <a:pt x="106680" y="291465"/>
                    </a:lnTo>
                    <a:lnTo>
                      <a:pt x="106680" y="40957"/>
                    </a:lnTo>
                    <a:lnTo>
                      <a:pt x="114300" y="40957"/>
                    </a:lnTo>
                    <a:lnTo>
                      <a:pt x="114300" y="133350"/>
                    </a:lnTo>
                    <a:cubicBezTo>
                      <a:pt x="114300" y="138113"/>
                      <a:pt x="116205" y="140970"/>
                      <a:pt x="118110" y="143827"/>
                    </a:cubicBezTo>
                    <a:cubicBezTo>
                      <a:pt x="119063" y="142875"/>
                      <a:pt x="119063" y="141922"/>
                      <a:pt x="119063" y="141922"/>
                    </a:cubicBezTo>
                    <a:lnTo>
                      <a:pt x="119063" y="133350"/>
                    </a:lnTo>
                    <a:lnTo>
                      <a:pt x="120967" y="133350"/>
                    </a:lnTo>
                    <a:lnTo>
                      <a:pt x="120967" y="143827"/>
                    </a:lnTo>
                    <a:cubicBezTo>
                      <a:pt x="120967" y="145732"/>
                      <a:pt x="121920" y="146685"/>
                      <a:pt x="122872" y="146685"/>
                    </a:cubicBezTo>
                    <a:cubicBezTo>
                      <a:pt x="129540" y="148590"/>
                      <a:pt x="138113" y="144780"/>
                      <a:pt x="138113" y="133350"/>
                    </a:cubicBezTo>
                    <a:lnTo>
                      <a:pt x="138113" y="39052"/>
                    </a:lnTo>
                    <a:cubicBezTo>
                      <a:pt x="140970" y="20002"/>
                      <a:pt x="128588" y="0"/>
                      <a:pt x="10477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4" name="Freihandform: Form 33">
                <a:extLst>
                  <a:ext uri="{FF2B5EF4-FFF2-40B4-BE49-F238E27FC236}">
                    <a16:creationId xmlns:a16="http://schemas.microsoft.com/office/drawing/2014/main" id="{E6E71088-66C0-93F2-7C03-BF699A9A9B48}"/>
                  </a:ext>
                </a:extLst>
              </p:cNvPr>
              <p:cNvSpPr/>
              <p:nvPr/>
            </p:nvSpPr>
            <p:spPr>
              <a:xfrm>
                <a:off x="6225539" y="5712142"/>
                <a:ext cx="38100" cy="22859"/>
              </a:xfrm>
              <a:custGeom>
                <a:avLst/>
                <a:gdLst>
                  <a:gd name="connsiteX0" fmla="*/ 25718 w 38100"/>
                  <a:gd name="connsiteY0" fmla="*/ 22860 h 22859"/>
                  <a:gd name="connsiteX1" fmla="*/ 38100 w 38100"/>
                  <a:gd name="connsiteY1" fmla="*/ 22860 h 22859"/>
                  <a:gd name="connsiteX2" fmla="*/ 37148 w 38100"/>
                  <a:gd name="connsiteY2" fmla="*/ 17145 h 22859"/>
                  <a:gd name="connsiteX3" fmla="*/ 37148 w 38100"/>
                  <a:gd name="connsiteY3" fmla="*/ 16193 h 22859"/>
                  <a:gd name="connsiteX4" fmla="*/ 35243 w 38100"/>
                  <a:gd name="connsiteY4" fmla="*/ 11430 h 22859"/>
                  <a:gd name="connsiteX5" fmla="*/ 19050 w 38100"/>
                  <a:gd name="connsiteY5" fmla="*/ 0 h 22859"/>
                  <a:gd name="connsiteX6" fmla="*/ 2858 w 38100"/>
                  <a:gd name="connsiteY6" fmla="*/ 11430 h 22859"/>
                  <a:gd name="connsiteX7" fmla="*/ 953 w 38100"/>
                  <a:gd name="connsiteY7" fmla="*/ 16193 h 22859"/>
                  <a:gd name="connsiteX8" fmla="*/ 953 w 38100"/>
                  <a:gd name="connsiteY8" fmla="*/ 17145 h 22859"/>
                  <a:gd name="connsiteX9" fmla="*/ 0 w 38100"/>
                  <a:gd name="connsiteY9" fmla="*/ 22860 h 22859"/>
                  <a:gd name="connsiteX10" fmla="*/ 12383 w 38100"/>
                  <a:gd name="connsiteY10" fmla="*/ 22860 h 22859"/>
                  <a:gd name="connsiteX11" fmla="*/ 25718 w 38100"/>
                  <a:gd name="connsiteY11" fmla="*/ 22860 h 2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22859">
                    <a:moveTo>
                      <a:pt x="25718" y="22860"/>
                    </a:moveTo>
                    <a:lnTo>
                      <a:pt x="38100" y="22860"/>
                    </a:lnTo>
                    <a:cubicBezTo>
                      <a:pt x="38100" y="20955"/>
                      <a:pt x="38100" y="19050"/>
                      <a:pt x="37148" y="17145"/>
                    </a:cubicBezTo>
                    <a:cubicBezTo>
                      <a:pt x="37148" y="17145"/>
                      <a:pt x="37148" y="17145"/>
                      <a:pt x="37148" y="16193"/>
                    </a:cubicBezTo>
                    <a:cubicBezTo>
                      <a:pt x="37148" y="14288"/>
                      <a:pt x="36195" y="13335"/>
                      <a:pt x="35243" y="11430"/>
                    </a:cubicBezTo>
                    <a:cubicBezTo>
                      <a:pt x="32385" y="4763"/>
                      <a:pt x="25718" y="0"/>
                      <a:pt x="19050" y="0"/>
                    </a:cubicBezTo>
                    <a:cubicBezTo>
                      <a:pt x="12383" y="0"/>
                      <a:pt x="5715" y="4763"/>
                      <a:pt x="2858" y="11430"/>
                    </a:cubicBezTo>
                    <a:cubicBezTo>
                      <a:pt x="1905" y="13335"/>
                      <a:pt x="1905" y="14288"/>
                      <a:pt x="953" y="16193"/>
                    </a:cubicBezTo>
                    <a:cubicBezTo>
                      <a:pt x="953" y="16193"/>
                      <a:pt x="953" y="16193"/>
                      <a:pt x="953" y="17145"/>
                    </a:cubicBezTo>
                    <a:cubicBezTo>
                      <a:pt x="953" y="19050"/>
                      <a:pt x="0" y="20955"/>
                      <a:pt x="0" y="22860"/>
                    </a:cubicBezTo>
                    <a:lnTo>
                      <a:pt x="12383" y="22860"/>
                    </a:lnTo>
                    <a:lnTo>
                      <a:pt x="25718" y="22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grpSp>
          <p:nvGrpSpPr>
            <p:cNvPr id="29" name="Grafik 1418">
              <a:extLst>
                <a:ext uri="{FF2B5EF4-FFF2-40B4-BE49-F238E27FC236}">
                  <a16:creationId xmlns:a16="http://schemas.microsoft.com/office/drawing/2014/main" id="{94CAAB81-4975-F2FC-D90A-46725CFF88EF}"/>
                </a:ext>
              </a:extLst>
            </p:cNvPr>
            <p:cNvGrpSpPr/>
            <p:nvPr/>
          </p:nvGrpSpPr>
          <p:grpSpPr>
            <a:xfrm>
              <a:off x="6231255" y="5339714"/>
              <a:ext cx="68580" cy="80009"/>
              <a:chOff x="6231255" y="5339714"/>
              <a:chExt cx="68580" cy="80009"/>
            </a:xfrm>
            <a:grpFill/>
          </p:grpSpPr>
          <p:sp>
            <p:nvSpPr>
              <p:cNvPr id="30" name="Freihandform: Form 29">
                <a:extLst>
                  <a:ext uri="{FF2B5EF4-FFF2-40B4-BE49-F238E27FC236}">
                    <a16:creationId xmlns:a16="http://schemas.microsoft.com/office/drawing/2014/main" id="{DFB418F7-23A6-1E66-1CBC-9C8D0109143F}"/>
                  </a:ext>
                </a:extLst>
              </p:cNvPr>
              <p:cNvSpPr/>
              <p:nvPr/>
            </p:nvSpPr>
            <p:spPr>
              <a:xfrm>
                <a:off x="6235064" y="5374004"/>
                <a:ext cx="60960" cy="45719"/>
              </a:xfrm>
              <a:custGeom>
                <a:avLst/>
                <a:gdLst>
                  <a:gd name="connsiteX0" fmla="*/ 3810 w 60960"/>
                  <a:gd name="connsiteY0" fmla="*/ 0 h 45719"/>
                  <a:gd name="connsiteX1" fmla="*/ 0 w 60960"/>
                  <a:gd name="connsiteY1" fmla="*/ 15240 h 45719"/>
                  <a:gd name="connsiteX2" fmla="*/ 30480 w 60960"/>
                  <a:gd name="connsiteY2" fmla="*/ 45720 h 45719"/>
                  <a:gd name="connsiteX3" fmla="*/ 60960 w 60960"/>
                  <a:gd name="connsiteY3" fmla="*/ 15240 h 45719"/>
                  <a:gd name="connsiteX4" fmla="*/ 57150 w 60960"/>
                  <a:gd name="connsiteY4" fmla="*/ 0 h 45719"/>
                  <a:gd name="connsiteX5" fmla="*/ 3810 w 60960"/>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 h="45719">
                    <a:moveTo>
                      <a:pt x="3810" y="0"/>
                    </a:moveTo>
                    <a:cubicBezTo>
                      <a:pt x="953" y="4763"/>
                      <a:pt x="0" y="9525"/>
                      <a:pt x="0" y="15240"/>
                    </a:cubicBezTo>
                    <a:cubicBezTo>
                      <a:pt x="0" y="32385"/>
                      <a:pt x="14288"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1" name="Freihandform: Form 30">
                <a:extLst>
                  <a:ext uri="{FF2B5EF4-FFF2-40B4-BE49-F238E27FC236}">
                    <a16:creationId xmlns:a16="http://schemas.microsoft.com/office/drawing/2014/main" id="{3BD009DC-D292-F97C-4FE6-6537E889CCCF}"/>
                  </a:ext>
                </a:extLst>
              </p:cNvPr>
              <p:cNvSpPr/>
              <p:nvPr/>
            </p:nvSpPr>
            <p:spPr>
              <a:xfrm>
                <a:off x="6231255" y="5339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grpSp>
      <p:cxnSp>
        <p:nvCxnSpPr>
          <p:cNvPr id="40" name="Gerader Verbinder 39">
            <a:extLst>
              <a:ext uri="{FF2B5EF4-FFF2-40B4-BE49-F238E27FC236}">
                <a16:creationId xmlns:a16="http://schemas.microsoft.com/office/drawing/2014/main" id="{4A454B3C-A335-6D26-3410-11A5612EA9B8}"/>
              </a:ext>
            </a:extLst>
          </p:cNvPr>
          <p:cNvCxnSpPr>
            <a:cxnSpLocks/>
          </p:cNvCxnSpPr>
          <p:nvPr/>
        </p:nvCxnSpPr>
        <p:spPr>
          <a:xfrm>
            <a:off x="9372364" y="2835067"/>
            <a:ext cx="2592000" cy="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1" name="Graphic 34">
            <a:extLst>
              <a:ext uri="{FF2B5EF4-FFF2-40B4-BE49-F238E27FC236}">
                <a16:creationId xmlns:a16="http://schemas.microsoft.com/office/drawing/2014/main" id="{DD799827-A823-4F59-C210-4633B03359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6207267" y="4270843"/>
            <a:ext cx="639843" cy="476746"/>
          </a:xfrm>
          <a:prstGeom prst="rect">
            <a:avLst/>
          </a:prstGeom>
        </p:spPr>
      </p:pic>
      <p:sp>
        <p:nvSpPr>
          <p:cNvPr id="42" name="Rechteck 41">
            <a:extLst>
              <a:ext uri="{FF2B5EF4-FFF2-40B4-BE49-F238E27FC236}">
                <a16:creationId xmlns:a16="http://schemas.microsoft.com/office/drawing/2014/main" id="{EC5D30DB-2CB6-365F-A6C9-A28FC76F0DAE}"/>
              </a:ext>
            </a:extLst>
          </p:cNvPr>
          <p:cNvSpPr/>
          <p:nvPr/>
        </p:nvSpPr>
        <p:spPr>
          <a:xfrm>
            <a:off x="2783634" y="4059203"/>
            <a:ext cx="3312366" cy="1709772"/>
          </a:xfrm>
          <a:prstGeom prst="rect">
            <a:avLst/>
          </a:pr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3" name="Textplatzhalter 2">
            <a:extLst>
              <a:ext uri="{FF2B5EF4-FFF2-40B4-BE49-F238E27FC236}">
                <a16:creationId xmlns:a16="http://schemas.microsoft.com/office/drawing/2014/main" id="{2D51A920-3836-9B28-B1B1-3FF97843E19D}"/>
              </a:ext>
            </a:extLst>
          </p:cNvPr>
          <p:cNvSpPr txBox="1">
            <a:spLocks/>
          </p:cNvSpPr>
          <p:nvPr/>
        </p:nvSpPr>
        <p:spPr>
          <a:xfrm>
            <a:off x="2904064" y="4145175"/>
            <a:ext cx="1352800" cy="288000"/>
          </a:xfrm>
          <a:prstGeom prst="rect">
            <a:avLst/>
          </a:prstGeom>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cs typeface="Arial"/>
              </a:rPr>
              <a:t>We combine</a:t>
            </a:r>
            <a:endParaRPr kumimoji="0" lang="en-US" sz="1600" b="1"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4" name="Textplatzhalter 2">
            <a:extLst>
              <a:ext uri="{FF2B5EF4-FFF2-40B4-BE49-F238E27FC236}">
                <a16:creationId xmlns:a16="http://schemas.microsoft.com/office/drawing/2014/main" id="{95DEBD64-00B6-A769-CDF4-2163CB4A8F5D}"/>
              </a:ext>
            </a:extLst>
          </p:cNvPr>
          <p:cNvSpPr txBox="1">
            <a:spLocks/>
          </p:cNvSpPr>
          <p:nvPr/>
        </p:nvSpPr>
        <p:spPr>
          <a:xfrm>
            <a:off x="3395700" y="4493587"/>
            <a:ext cx="2807060" cy="288000"/>
          </a:xfrm>
          <a:prstGeom prst="rect">
            <a:avLst/>
          </a:prstGeom>
        </p:spPr>
        <p:txBody>
          <a:bodyPr vert="horz" lIns="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cs typeface="Arial"/>
              </a:rPr>
              <a:t>Economic Success</a:t>
            </a:r>
          </a:p>
        </p:txBody>
      </p:sp>
      <p:grpSp>
        <p:nvGrpSpPr>
          <p:cNvPr id="45" name="Gruppieren 44">
            <a:extLst>
              <a:ext uri="{FF2B5EF4-FFF2-40B4-BE49-F238E27FC236}">
                <a16:creationId xmlns:a16="http://schemas.microsoft.com/office/drawing/2014/main" id="{9063EF58-FEBC-CF27-6601-F78D4AEA7ED2}"/>
              </a:ext>
            </a:extLst>
          </p:cNvPr>
          <p:cNvGrpSpPr/>
          <p:nvPr/>
        </p:nvGrpSpPr>
        <p:grpSpPr>
          <a:xfrm>
            <a:off x="2903104" y="4473173"/>
            <a:ext cx="292832" cy="302504"/>
            <a:chOff x="1606550" y="2363787"/>
            <a:chExt cx="600868" cy="620713"/>
          </a:xfrm>
        </p:grpSpPr>
        <p:sp>
          <p:nvSpPr>
            <p:cNvPr id="46" name="Freihandform: Form 45">
              <a:extLst>
                <a:ext uri="{FF2B5EF4-FFF2-40B4-BE49-F238E27FC236}">
                  <a16:creationId xmlns:a16="http://schemas.microsoft.com/office/drawing/2014/main" id="{ECD938BC-125A-64C9-FDBF-A5906BB21BC5}"/>
                </a:ext>
              </a:extLst>
            </p:cNvPr>
            <p:cNvSpPr/>
            <p:nvPr/>
          </p:nvSpPr>
          <p:spPr>
            <a:xfrm>
              <a:off x="1695449" y="2363787"/>
              <a:ext cx="511969" cy="500063"/>
            </a:xfrm>
            <a:custGeom>
              <a:avLst/>
              <a:gdLst>
                <a:gd name="connsiteX0" fmla="*/ 0 w 552450"/>
                <a:gd name="connsiteY0" fmla="*/ 361950 h 552450"/>
                <a:gd name="connsiteX1" fmla="*/ 171450 w 552450"/>
                <a:gd name="connsiteY1" fmla="*/ 552450 h 552450"/>
                <a:gd name="connsiteX2" fmla="*/ 552450 w 552450"/>
                <a:gd name="connsiteY2" fmla="*/ 0 h 552450"/>
                <a:gd name="connsiteX0" fmla="*/ 0 w 511969"/>
                <a:gd name="connsiteY0" fmla="*/ 309563 h 500063"/>
                <a:gd name="connsiteX1" fmla="*/ 171450 w 511969"/>
                <a:gd name="connsiteY1" fmla="*/ 500063 h 500063"/>
                <a:gd name="connsiteX2" fmla="*/ 511969 w 511969"/>
                <a:gd name="connsiteY2" fmla="*/ 0 h 500063"/>
              </a:gdLst>
              <a:ahLst/>
              <a:cxnLst>
                <a:cxn ang="0">
                  <a:pos x="connsiteX0" y="connsiteY0"/>
                </a:cxn>
                <a:cxn ang="0">
                  <a:pos x="connsiteX1" y="connsiteY1"/>
                </a:cxn>
                <a:cxn ang="0">
                  <a:pos x="connsiteX2" y="connsiteY2"/>
                </a:cxn>
              </a:cxnLst>
              <a:rect l="l" t="t" r="r" b="b"/>
              <a:pathLst>
                <a:path w="511969" h="500063">
                  <a:moveTo>
                    <a:pt x="0" y="309563"/>
                  </a:moveTo>
                  <a:lnTo>
                    <a:pt x="171450" y="500063"/>
                  </a:lnTo>
                  <a:cubicBezTo>
                    <a:pt x="298450" y="315913"/>
                    <a:pt x="384969" y="184150"/>
                    <a:pt x="511969" y="0"/>
                  </a:cubicBez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7" name="Freihandform: Form 46">
              <a:extLst>
                <a:ext uri="{FF2B5EF4-FFF2-40B4-BE49-F238E27FC236}">
                  <a16:creationId xmlns:a16="http://schemas.microsoft.com/office/drawing/2014/main" id="{D87962FD-2FE8-31ED-F4EB-B6D7C77C3BD4}"/>
                </a:ext>
              </a:extLst>
            </p:cNvPr>
            <p:cNvSpPr/>
            <p:nvPr/>
          </p:nvSpPr>
          <p:spPr>
            <a:xfrm>
              <a:off x="1606550" y="2413000"/>
              <a:ext cx="571500" cy="571500"/>
            </a:xfrm>
            <a:custGeom>
              <a:avLst/>
              <a:gdLst>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01600 h 571500"/>
                <a:gd name="connsiteX0" fmla="*/ 469900 w 576263"/>
                <a:gd name="connsiteY0" fmla="*/ 0 h 571500"/>
                <a:gd name="connsiteX1" fmla="*/ 0 w 576263"/>
                <a:gd name="connsiteY1" fmla="*/ 0 h 571500"/>
                <a:gd name="connsiteX2" fmla="*/ 0 w 576263"/>
                <a:gd name="connsiteY2" fmla="*/ 571500 h 571500"/>
                <a:gd name="connsiteX3" fmla="*/ 571500 w 576263"/>
                <a:gd name="connsiteY3" fmla="*/ 571500 h 571500"/>
                <a:gd name="connsiteX4" fmla="*/ 576263 w 576263"/>
                <a:gd name="connsiteY4" fmla="*/ 111125 h 571500"/>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13506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469900" y="0"/>
                  </a:moveTo>
                  <a:lnTo>
                    <a:pt x="0" y="0"/>
                  </a:lnTo>
                  <a:lnTo>
                    <a:pt x="0" y="571500"/>
                  </a:lnTo>
                  <a:lnTo>
                    <a:pt x="571500" y="571500"/>
                  </a:lnTo>
                  <a:lnTo>
                    <a:pt x="571500" y="113506"/>
                  </a:ln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grpSp>
      <p:sp>
        <p:nvSpPr>
          <p:cNvPr id="48" name="Textplatzhalter 2">
            <a:extLst>
              <a:ext uri="{FF2B5EF4-FFF2-40B4-BE49-F238E27FC236}">
                <a16:creationId xmlns:a16="http://schemas.microsoft.com/office/drawing/2014/main" id="{51C418B1-57F1-781D-C671-D5D559F813D6}"/>
              </a:ext>
            </a:extLst>
          </p:cNvPr>
          <p:cNvSpPr txBox="1">
            <a:spLocks/>
          </p:cNvSpPr>
          <p:nvPr/>
        </p:nvSpPr>
        <p:spPr>
          <a:xfrm>
            <a:off x="3395700" y="4916323"/>
            <a:ext cx="2807060" cy="278520"/>
          </a:xfrm>
          <a:prstGeom prst="rect">
            <a:avLst/>
          </a:prstGeom>
        </p:spPr>
        <p:txBody>
          <a:bodyPr vert="horz" lIns="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cs typeface="Arial"/>
              </a:rPr>
              <a:t>Social Responsibility </a:t>
            </a:r>
          </a:p>
        </p:txBody>
      </p:sp>
      <p:grpSp>
        <p:nvGrpSpPr>
          <p:cNvPr id="49" name="Gruppieren 48">
            <a:extLst>
              <a:ext uri="{FF2B5EF4-FFF2-40B4-BE49-F238E27FC236}">
                <a16:creationId xmlns:a16="http://schemas.microsoft.com/office/drawing/2014/main" id="{06169320-989C-B298-E3DC-70DFB0AB9051}"/>
              </a:ext>
            </a:extLst>
          </p:cNvPr>
          <p:cNvGrpSpPr/>
          <p:nvPr/>
        </p:nvGrpSpPr>
        <p:grpSpPr>
          <a:xfrm>
            <a:off x="2903104" y="4892339"/>
            <a:ext cx="292832" cy="302504"/>
            <a:chOff x="1606550" y="2363787"/>
            <a:chExt cx="600868" cy="620713"/>
          </a:xfrm>
        </p:grpSpPr>
        <p:sp>
          <p:nvSpPr>
            <p:cNvPr id="50" name="Freihandform: Form 49">
              <a:extLst>
                <a:ext uri="{FF2B5EF4-FFF2-40B4-BE49-F238E27FC236}">
                  <a16:creationId xmlns:a16="http://schemas.microsoft.com/office/drawing/2014/main" id="{73B1B43C-8934-822F-B321-0E315CBB8B16}"/>
                </a:ext>
              </a:extLst>
            </p:cNvPr>
            <p:cNvSpPr/>
            <p:nvPr/>
          </p:nvSpPr>
          <p:spPr>
            <a:xfrm>
              <a:off x="1695449" y="2363787"/>
              <a:ext cx="511969" cy="500063"/>
            </a:xfrm>
            <a:custGeom>
              <a:avLst/>
              <a:gdLst>
                <a:gd name="connsiteX0" fmla="*/ 0 w 552450"/>
                <a:gd name="connsiteY0" fmla="*/ 361950 h 552450"/>
                <a:gd name="connsiteX1" fmla="*/ 171450 w 552450"/>
                <a:gd name="connsiteY1" fmla="*/ 552450 h 552450"/>
                <a:gd name="connsiteX2" fmla="*/ 552450 w 552450"/>
                <a:gd name="connsiteY2" fmla="*/ 0 h 552450"/>
                <a:gd name="connsiteX0" fmla="*/ 0 w 511969"/>
                <a:gd name="connsiteY0" fmla="*/ 309563 h 500063"/>
                <a:gd name="connsiteX1" fmla="*/ 171450 w 511969"/>
                <a:gd name="connsiteY1" fmla="*/ 500063 h 500063"/>
                <a:gd name="connsiteX2" fmla="*/ 511969 w 511969"/>
                <a:gd name="connsiteY2" fmla="*/ 0 h 500063"/>
              </a:gdLst>
              <a:ahLst/>
              <a:cxnLst>
                <a:cxn ang="0">
                  <a:pos x="connsiteX0" y="connsiteY0"/>
                </a:cxn>
                <a:cxn ang="0">
                  <a:pos x="connsiteX1" y="connsiteY1"/>
                </a:cxn>
                <a:cxn ang="0">
                  <a:pos x="connsiteX2" y="connsiteY2"/>
                </a:cxn>
              </a:cxnLst>
              <a:rect l="l" t="t" r="r" b="b"/>
              <a:pathLst>
                <a:path w="511969" h="500063">
                  <a:moveTo>
                    <a:pt x="0" y="309563"/>
                  </a:moveTo>
                  <a:lnTo>
                    <a:pt x="171450" y="500063"/>
                  </a:lnTo>
                  <a:cubicBezTo>
                    <a:pt x="298450" y="315913"/>
                    <a:pt x="384969" y="184150"/>
                    <a:pt x="511969" y="0"/>
                  </a:cubicBez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51" name="Freihandform: Form 50">
              <a:extLst>
                <a:ext uri="{FF2B5EF4-FFF2-40B4-BE49-F238E27FC236}">
                  <a16:creationId xmlns:a16="http://schemas.microsoft.com/office/drawing/2014/main" id="{A4257CAC-6150-AAE4-F9AB-24E89417A22B}"/>
                </a:ext>
              </a:extLst>
            </p:cNvPr>
            <p:cNvSpPr/>
            <p:nvPr/>
          </p:nvSpPr>
          <p:spPr>
            <a:xfrm>
              <a:off x="1606550" y="2413000"/>
              <a:ext cx="571500" cy="571500"/>
            </a:xfrm>
            <a:custGeom>
              <a:avLst/>
              <a:gdLst>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01600 h 571500"/>
                <a:gd name="connsiteX0" fmla="*/ 469900 w 576263"/>
                <a:gd name="connsiteY0" fmla="*/ 0 h 571500"/>
                <a:gd name="connsiteX1" fmla="*/ 0 w 576263"/>
                <a:gd name="connsiteY1" fmla="*/ 0 h 571500"/>
                <a:gd name="connsiteX2" fmla="*/ 0 w 576263"/>
                <a:gd name="connsiteY2" fmla="*/ 571500 h 571500"/>
                <a:gd name="connsiteX3" fmla="*/ 571500 w 576263"/>
                <a:gd name="connsiteY3" fmla="*/ 571500 h 571500"/>
                <a:gd name="connsiteX4" fmla="*/ 576263 w 576263"/>
                <a:gd name="connsiteY4" fmla="*/ 111125 h 571500"/>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13506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469900" y="0"/>
                  </a:moveTo>
                  <a:lnTo>
                    <a:pt x="0" y="0"/>
                  </a:lnTo>
                  <a:lnTo>
                    <a:pt x="0" y="571500"/>
                  </a:lnTo>
                  <a:lnTo>
                    <a:pt x="571500" y="571500"/>
                  </a:lnTo>
                  <a:lnTo>
                    <a:pt x="571500" y="113506"/>
                  </a:ln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grpSp>
      <p:sp>
        <p:nvSpPr>
          <p:cNvPr id="52" name="Textplatzhalter 2">
            <a:extLst>
              <a:ext uri="{FF2B5EF4-FFF2-40B4-BE49-F238E27FC236}">
                <a16:creationId xmlns:a16="http://schemas.microsoft.com/office/drawing/2014/main" id="{679C5F97-804B-DD69-7299-28F22081624C}"/>
              </a:ext>
            </a:extLst>
          </p:cNvPr>
          <p:cNvSpPr txBox="1">
            <a:spLocks/>
          </p:cNvSpPr>
          <p:nvPr/>
        </p:nvSpPr>
        <p:spPr>
          <a:xfrm>
            <a:off x="3395700" y="5342461"/>
            <a:ext cx="2807060" cy="278520"/>
          </a:xfrm>
          <a:prstGeom prst="rect">
            <a:avLst/>
          </a:prstGeom>
        </p:spPr>
        <p:txBody>
          <a:bodyPr vert="horz" lIns="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cs typeface="Arial"/>
              </a:rPr>
              <a:t>Environmental Protection</a:t>
            </a:r>
          </a:p>
        </p:txBody>
      </p:sp>
      <p:grpSp>
        <p:nvGrpSpPr>
          <p:cNvPr id="53" name="Gruppieren 52">
            <a:extLst>
              <a:ext uri="{FF2B5EF4-FFF2-40B4-BE49-F238E27FC236}">
                <a16:creationId xmlns:a16="http://schemas.microsoft.com/office/drawing/2014/main" id="{9128D3B0-4F9D-5C97-3889-7FE3883ADA6C}"/>
              </a:ext>
            </a:extLst>
          </p:cNvPr>
          <p:cNvGrpSpPr/>
          <p:nvPr/>
        </p:nvGrpSpPr>
        <p:grpSpPr>
          <a:xfrm>
            <a:off x="2903104" y="5324387"/>
            <a:ext cx="292832" cy="302504"/>
            <a:chOff x="1606550" y="2363787"/>
            <a:chExt cx="600868" cy="620713"/>
          </a:xfrm>
        </p:grpSpPr>
        <p:sp>
          <p:nvSpPr>
            <p:cNvPr id="54" name="Freihandform: Form 53">
              <a:extLst>
                <a:ext uri="{FF2B5EF4-FFF2-40B4-BE49-F238E27FC236}">
                  <a16:creationId xmlns:a16="http://schemas.microsoft.com/office/drawing/2014/main" id="{B58E2EA3-B3EA-59BB-4ADF-4248F9CD0A37}"/>
                </a:ext>
              </a:extLst>
            </p:cNvPr>
            <p:cNvSpPr/>
            <p:nvPr/>
          </p:nvSpPr>
          <p:spPr>
            <a:xfrm>
              <a:off x="1695449" y="2363787"/>
              <a:ext cx="511969" cy="500063"/>
            </a:xfrm>
            <a:custGeom>
              <a:avLst/>
              <a:gdLst>
                <a:gd name="connsiteX0" fmla="*/ 0 w 552450"/>
                <a:gd name="connsiteY0" fmla="*/ 361950 h 552450"/>
                <a:gd name="connsiteX1" fmla="*/ 171450 w 552450"/>
                <a:gd name="connsiteY1" fmla="*/ 552450 h 552450"/>
                <a:gd name="connsiteX2" fmla="*/ 552450 w 552450"/>
                <a:gd name="connsiteY2" fmla="*/ 0 h 552450"/>
                <a:gd name="connsiteX0" fmla="*/ 0 w 511969"/>
                <a:gd name="connsiteY0" fmla="*/ 309563 h 500063"/>
                <a:gd name="connsiteX1" fmla="*/ 171450 w 511969"/>
                <a:gd name="connsiteY1" fmla="*/ 500063 h 500063"/>
                <a:gd name="connsiteX2" fmla="*/ 511969 w 511969"/>
                <a:gd name="connsiteY2" fmla="*/ 0 h 500063"/>
              </a:gdLst>
              <a:ahLst/>
              <a:cxnLst>
                <a:cxn ang="0">
                  <a:pos x="connsiteX0" y="connsiteY0"/>
                </a:cxn>
                <a:cxn ang="0">
                  <a:pos x="connsiteX1" y="connsiteY1"/>
                </a:cxn>
                <a:cxn ang="0">
                  <a:pos x="connsiteX2" y="connsiteY2"/>
                </a:cxn>
              </a:cxnLst>
              <a:rect l="l" t="t" r="r" b="b"/>
              <a:pathLst>
                <a:path w="511969" h="500063">
                  <a:moveTo>
                    <a:pt x="0" y="309563"/>
                  </a:moveTo>
                  <a:lnTo>
                    <a:pt x="171450" y="500063"/>
                  </a:lnTo>
                  <a:cubicBezTo>
                    <a:pt x="298450" y="315913"/>
                    <a:pt x="384969" y="184150"/>
                    <a:pt x="511969" y="0"/>
                  </a:cubicBez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55" name="Freihandform: Form 54">
              <a:extLst>
                <a:ext uri="{FF2B5EF4-FFF2-40B4-BE49-F238E27FC236}">
                  <a16:creationId xmlns:a16="http://schemas.microsoft.com/office/drawing/2014/main" id="{5CED5120-D972-A7E1-A6BB-CBDE7D2460C7}"/>
                </a:ext>
              </a:extLst>
            </p:cNvPr>
            <p:cNvSpPr/>
            <p:nvPr/>
          </p:nvSpPr>
          <p:spPr>
            <a:xfrm>
              <a:off x="1606550" y="2413000"/>
              <a:ext cx="571500" cy="571500"/>
            </a:xfrm>
            <a:custGeom>
              <a:avLst/>
              <a:gdLst>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01600 h 571500"/>
                <a:gd name="connsiteX0" fmla="*/ 469900 w 576263"/>
                <a:gd name="connsiteY0" fmla="*/ 0 h 571500"/>
                <a:gd name="connsiteX1" fmla="*/ 0 w 576263"/>
                <a:gd name="connsiteY1" fmla="*/ 0 h 571500"/>
                <a:gd name="connsiteX2" fmla="*/ 0 w 576263"/>
                <a:gd name="connsiteY2" fmla="*/ 571500 h 571500"/>
                <a:gd name="connsiteX3" fmla="*/ 571500 w 576263"/>
                <a:gd name="connsiteY3" fmla="*/ 571500 h 571500"/>
                <a:gd name="connsiteX4" fmla="*/ 576263 w 576263"/>
                <a:gd name="connsiteY4" fmla="*/ 111125 h 571500"/>
                <a:gd name="connsiteX0" fmla="*/ 469900 w 571500"/>
                <a:gd name="connsiteY0" fmla="*/ 0 h 571500"/>
                <a:gd name="connsiteX1" fmla="*/ 0 w 571500"/>
                <a:gd name="connsiteY1" fmla="*/ 0 h 571500"/>
                <a:gd name="connsiteX2" fmla="*/ 0 w 571500"/>
                <a:gd name="connsiteY2" fmla="*/ 571500 h 571500"/>
                <a:gd name="connsiteX3" fmla="*/ 571500 w 571500"/>
                <a:gd name="connsiteY3" fmla="*/ 571500 h 571500"/>
                <a:gd name="connsiteX4" fmla="*/ 571500 w 571500"/>
                <a:gd name="connsiteY4" fmla="*/ 113506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469900" y="0"/>
                  </a:moveTo>
                  <a:lnTo>
                    <a:pt x="0" y="0"/>
                  </a:lnTo>
                  <a:lnTo>
                    <a:pt x="0" y="571500"/>
                  </a:lnTo>
                  <a:lnTo>
                    <a:pt x="571500" y="571500"/>
                  </a:lnTo>
                  <a:lnTo>
                    <a:pt x="571500" y="113506"/>
                  </a:ln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grpSp>
      <p:sp>
        <p:nvSpPr>
          <p:cNvPr id="56" name="Textplatzhalter 2">
            <a:extLst>
              <a:ext uri="{FF2B5EF4-FFF2-40B4-BE49-F238E27FC236}">
                <a16:creationId xmlns:a16="http://schemas.microsoft.com/office/drawing/2014/main" id="{BF37B26E-E9F3-671C-6B0B-76A4A49AB370}"/>
              </a:ext>
            </a:extLst>
          </p:cNvPr>
          <p:cNvSpPr txBox="1">
            <a:spLocks/>
          </p:cNvSpPr>
          <p:nvPr/>
        </p:nvSpPr>
        <p:spPr>
          <a:xfrm>
            <a:off x="7076917" y="4168678"/>
            <a:ext cx="1928635" cy="125194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Our chemistry</a:t>
            </a:r>
            <a:br>
              <a:rPr kumimoji="0" lang="en-US" sz="1600" b="1" i="0" u="none" strike="noStrike" kern="1200" cap="none" spc="0" normalizeH="0" baseline="0" noProof="0" dirty="0">
                <a:ln>
                  <a:noFill/>
                </a:ln>
                <a:solidFill>
                  <a:srgbClr val="000000"/>
                </a:solidFill>
                <a:effectLst/>
                <a:uLnTx/>
                <a:uFillTx/>
                <a:latin typeface="Arial" panose="020B0604020202020204"/>
                <a:cs typeface="Arial"/>
              </a:rPr>
            </a:b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is used in almost</a:t>
            </a:r>
            <a:br>
              <a:rPr kumimoji="0" lang="en-US" sz="1600" b="1" i="0" u="none" strike="noStrike" kern="1200" cap="none" spc="0" normalizeH="0" baseline="0" noProof="0" dirty="0">
                <a:ln>
                  <a:noFill/>
                </a:ln>
                <a:solidFill>
                  <a:srgbClr val="004A96"/>
                </a:solidFill>
                <a:effectLst/>
                <a:uLnTx/>
                <a:uFillTx/>
                <a:latin typeface="Arial" panose="020B0604020202020204"/>
                <a:cs typeface="Arial"/>
              </a:rPr>
            </a:br>
            <a:r>
              <a:rPr kumimoji="0" lang="en-US" sz="2400" b="1" i="0" u="none" strike="noStrike" kern="1200" cap="none" spc="0" normalizeH="0" baseline="0" noProof="0" dirty="0">
                <a:ln>
                  <a:noFill/>
                </a:ln>
                <a:solidFill>
                  <a:srgbClr val="004A96"/>
                </a:solidFill>
                <a:effectLst/>
                <a:uLnTx/>
                <a:uFillTx/>
                <a:latin typeface="Arial" panose="020B0604020202020204"/>
                <a:cs typeface="Arial"/>
              </a:rPr>
              <a:t>all industries</a:t>
            </a:r>
            <a:endParaRPr kumimoji="0" lang="en-US" sz="24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8F00720B-4B3C-1341-056F-945959CEE4F0}"/>
              </a:ext>
            </a:extLst>
          </p:cNvPr>
          <p:cNvSpPr>
            <a:spLocks noGrp="1"/>
          </p:cNvSpPr>
          <p:nvPr>
            <p:ph type="title"/>
          </p:nvPr>
        </p:nvSpPr>
        <p:spPr/>
        <p:txBody>
          <a:bodyPr/>
          <a:lstStyle/>
          <a:p>
            <a:r>
              <a:rPr lang="en-US" dirty="0">
                <a:solidFill>
                  <a:schemeClr val="bg1"/>
                </a:solidFill>
                <a:latin typeface="+mn-lt"/>
              </a:rPr>
              <a:t>BASF – We create chemistry</a:t>
            </a:r>
            <a:br>
              <a:rPr lang="en-US" dirty="0">
                <a:solidFill>
                  <a:schemeClr val="bg1"/>
                </a:solidFill>
                <a:latin typeface="+mn-lt"/>
              </a:rPr>
            </a:br>
            <a:r>
              <a:rPr lang="en-US" dirty="0">
                <a:solidFill>
                  <a:schemeClr val="bg1"/>
                </a:solidFill>
                <a:latin typeface="+mn-lt"/>
              </a:rPr>
              <a:t>for a  sustainable future</a:t>
            </a:r>
          </a:p>
        </p:txBody>
      </p:sp>
      <p:sp>
        <p:nvSpPr>
          <p:cNvPr id="4" name="Foliennummernplatzhalter 3">
            <a:extLst>
              <a:ext uri="{FF2B5EF4-FFF2-40B4-BE49-F238E27FC236}">
                <a16:creationId xmlns:a16="http://schemas.microsoft.com/office/drawing/2014/main" id="{51AB3E8C-6913-F3A4-CEF9-5677EB0F728C}"/>
              </a:ext>
            </a:extLst>
          </p:cNvPr>
          <p:cNvSpPr>
            <a:spLocks noGrp="1"/>
          </p:cNvSpPr>
          <p:nvPr>
            <p:ph type="sldNum" sz="quarter" idx="12"/>
          </p:nvPr>
        </p:nvSpPr>
        <p:spPr>
          <a:xfrm>
            <a:off x="226800" y="6516000"/>
            <a:ext cx="360000" cy="151200"/>
          </a:xfrm>
          <a:prstGeom prst="rect">
            <a:avLst/>
          </a:prstGeom>
        </p:spPr>
        <p:txBody>
          <a:bodyPr vert="horz" lIns="0" tIns="0" rIns="0" bIns="0" rtlCol="0" anchor="t">
            <a:noAutofit/>
          </a:bodyPr>
          <a:lstStyle>
            <a:defPPr lvl="0">
              <a:defRPr lang="de-DE"/>
            </a:defPPr>
            <a:lvl1pPr marL="0" lvl="1" algn="l" defTabSz="914400" rtl="0" eaLnBrk="1" latinLnBrk="0" hangingPunct="1">
              <a:lnSpc>
                <a:spcPct val="100000"/>
              </a:lnSpc>
              <a:spcBef>
                <a:spcPts val="110"/>
              </a:spcBef>
              <a:spcAft>
                <a:spcPts val="110"/>
              </a:spcAft>
              <a:buNone/>
              <a:defRPr sz="900" b="1" i="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lang="de-DE" smtClean="0">
                <a:solidFill>
                  <a:srgbClr val="000000"/>
                </a:solidFill>
                <a:latin typeface="Arial" panose="020B0604020202020204"/>
                <a:cs typeface="Arial"/>
              </a:rPr>
              <a:pPr lvl="0">
                <a:defRPr/>
              </a:pPr>
              <a:t>3</a:t>
            </a:fld>
            <a:endParaRPr kumimoji="0" lang="en-US" sz="900" b="1" i="0" u="none" strike="noStrike" kern="1200" cap="none" spc="0" normalizeH="0" baseline="0" noProof="0" dirty="0">
              <a:ln>
                <a:noFill/>
              </a:ln>
              <a:solidFill>
                <a:srgbClr val="FFFFFF"/>
              </a:solidFill>
              <a:effectLst/>
              <a:uLnTx/>
              <a:uFillTx/>
              <a:latin typeface="Arial" panose="020B0604020202020204"/>
              <a:cs typeface="Arial"/>
            </a:endParaRPr>
          </a:p>
        </p:txBody>
      </p:sp>
    </p:spTree>
    <p:extLst>
      <p:ext uri="{BB962C8B-B14F-4D97-AF65-F5344CB8AC3E}">
        <p14:creationId xmlns:p14="http://schemas.microsoft.com/office/powerpoint/2010/main" val="34808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24FAC9CA-A030-4E33-5D84-47EA86F2BCC7}"/>
              </a:ext>
            </a:extLst>
          </p:cNvPr>
          <p:cNvPicPr>
            <a:picLocks noChangeAspect="1"/>
          </p:cNvPicPr>
          <p:nvPr/>
        </p:nvPicPr>
        <p:blipFill>
          <a:blip r:embed="rId2"/>
          <a:srcRect r="14288"/>
          <a:stretch/>
        </p:blipFill>
        <p:spPr>
          <a:xfrm>
            <a:off x="2826551" y="1489920"/>
            <a:ext cx="3111709" cy="2520000"/>
          </a:xfrm>
          <a:prstGeom prst="rect">
            <a:avLst/>
          </a:prstGeom>
        </p:spPr>
      </p:pic>
      <p:sp>
        <p:nvSpPr>
          <p:cNvPr id="3" name="Textplatzhalter 2">
            <a:extLst>
              <a:ext uri="{FF2B5EF4-FFF2-40B4-BE49-F238E27FC236}">
                <a16:creationId xmlns:a16="http://schemas.microsoft.com/office/drawing/2014/main" id="{23728EFF-30EC-111C-629A-0E150B45D5EC}"/>
              </a:ext>
            </a:extLst>
          </p:cNvPr>
          <p:cNvSpPr>
            <a:spLocks noGrp="1"/>
          </p:cNvSpPr>
          <p:nvPr>
            <p:ph type="body" idx="1"/>
          </p:nvPr>
        </p:nvSpPr>
        <p:spPr>
          <a:xfrm>
            <a:off x="4940658" y="4346615"/>
            <a:ext cx="6519581" cy="1474660"/>
          </a:xfrm>
        </p:spPr>
        <p:txBody>
          <a:bodyPr/>
          <a:lstStyle/>
          <a:p>
            <a:r>
              <a:rPr lang="de-DE" dirty="0"/>
              <a:t>Digitale Schnitzeljagd: alle 20 Szenen sammeln!</a:t>
            </a:r>
          </a:p>
          <a:p>
            <a:r>
              <a:rPr lang="de-DE" dirty="0"/>
              <a:t>QR-Codes auf Standorten und im Intranet</a:t>
            </a:r>
          </a:p>
          <a:p>
            <a:r>
              <a:rPr lang="en-US" dirty="0" err="1"/>
              <a:t>Attraktive</a:t>
            </a:r>
            <a:r>
              <a:rPr lang="en-US" dirty="0"/>
              <a:t> </a:t>
            </a:r>
            <a:r>
              <a:rPr lang="en-US" dirty="0" err="1"/>
              <a:t>Gewinne</a:t>
            </a:r>
            <a:r>
              <a:rPr lang="en-US" dirty="0"/>
              <a:t> – </a:t>
            </a:r>
            <a:r>
              <a:rPr lang="en-US" dirty="0" err="1"/>
              <a:t>verlost</a:t>
            </a:r>
            <a:r>
              <a:rPr lang="en-US" dirty="0"/>
              <a:t> </a:t>
            </a:r>
            <a:r>
              <a:rPr lang="en-US" dirty="0" err="1"/>
              <a:t>unter</a:t>
            </a:r>
            <a:r>
              <a:rPr lang="en-US" dirty="0"/>
              <a:t> den </a:t>
            </a:r>
            <a:r>
              <a:rPr lang="en-US" dirty="0" err="1"/>
              <a:t>Zieleinläufern</a:t>
            </a:r>
            <a:endParaRPr lang="en-US" dirty="0"/>
          </a:p>
          <a:p>
            <a:r>
              <a:rPr lang="en-US" dirty="0" err="1"/>
              <a:t>Externer</a:t>
            </a:r>
            <a:r>
              <a:rPr lang="en-US" dirty="0"/>
              <a:t> Partner </a:t>
            </a:r>
            <a:r>
              <a:rPr lang="en-US" dirty="0" err="1"/>
              <a:t>Poap</a:t>
            </a:r>
            <a:endParaRPr lang="en-US" dirty="0"/>
          </a:p>
        </p:txBody>
      </p:sp>
      <p:sp>
        <p:nvSpPr>
          <p:cNvPr id="2" name="Titel 1">
            <a:extLst>
              <a:ext uri="{FF2B5EF4-FFF2-40B4-BE49-F238E27FC236}">
                <a16:creationId xmlns:a16="http://schemas.microsoft.com/office/drawing/2014/main" id="{CD5ADFD7-E912-41D0-E9C6-C3A315B44014}"/>
              </a:ext>
            </a:extLst>
          </p:cNvPr>
          <p:cNvSpPr>
            <a:spLocks noGrp="1"/>
          </p:cNvSpPr>
          <p:nvPr>
            <p:ph type="title"/>
          </p:nvPr>
        </p:nvSpPr>
        <p:spPr>
          <a:xfrm>
            <a:off x="599713" y="388970"/>
            <a:ext cx="11736000" cy="853200"/>
          </a:xfrm>
        </p:spPr>
        <p:txBody>
          <a:bodyPr/>
          <a:lstStyle/>
          <a:p>
            <a:r>
              <a:rPr lang="en-US" sz="2400" dirty="0" err="1"/>
              <a:t>Digitale</a:t>
            </a:r>
            <a:r>
              <a:rPr lang="en-US" sz="2400" dirty="0"/>
              <a:t> </a:t>
            </a:r>
            <a:r>
              <a:rPr lang="en-US" sz="2400" dirty="0" err="1"/>
              <a:t>Kampagne</a:t>
            </a:r>
            <a:r>
              <a:rPr lang="en-US" sz="2400" dirty="0"/>
              <a:t> “Future Hunt” (“</a:t>
            </a:r>
            <a:r>
              <a:rPr lang="en-US" sz="2400" dirty="0" err="1"/>
              <a:t>Schnitzeljagd</a:t>
            </a:r>
            <a:r>
              <a:rPr lang="en-US" sz="2400" dirty="0"/>
              <a:t>”) </a:t>
            </a:r>
            <a:r>
              <a:rPr lang="en-US" sz="2400" dirty="0" err="1"/>
              <a:t>weckt</a:t>
            </a:r>
            <a:r>
              <a:rPr lang="en-US" sz="2400" dirty="0"/>
              <a:t> </a:t>
            </a:r>
            <a:br>
              <a:rPr lang="en-US" sz="2400" dirty="0"/>
            </a:br>
            <a:r>
              <a:rPr lang="en-US" sz="2400" dirty="0"/>
              <a:t>den Jagd- und </a:t>
            </a:r>
            <a:r>
              <a:rPr lang="en-US" sz="2400" dirty="0" err="1"/>
              <a:t>Sammeltrieb</a:t>
            </a:r>
            <a:r>
              <a:rPr lang="en-US" sz="2400" dirty="0"/>
              <a:t> </a:t>
            </a:r>
            <a:r>
              <a:rPr lang="en-US" sz="2400" dirty="0" err="1"/>
              <a:t>bei</a:t>
            </a:r>
            <a:r>
              <a:rPr lang="en-US" sz="2400" dirty="0"/>
              <a:t> </a:t>
            </a:r>
            <a:r>
              <a:rPr lang="en-US" sz="2400" dirty="0" err="1"/>
              <a:t>Kolleginnen</a:t>
            </a:r>
            <a:r>
              <a:rPr lang="en-US" sz="2400" dirty="0"/>
              <a:t> &amp; </a:t>
            </a:r>
            <a:r>
              <a:rPr lang="en-US" sz="2400" dirty="0" err="1"/>
              <a:t>Kollegen</a:t>
            </a:r>
            <a:r>
              <a:rPr lang="en-US" sz="2400" dirty="0"/>
              <a:t>…</a:t>
            </a:r>
            <a:br>
              <a:rPr lang="en-US" sz="2400" dirty="0"/>
            </a:br>
            <a:endParaRPr lang="en-US" sz="2400" dirty="0"/>
          </a:p>
        </p:txBody>
      </p:sp>
      <p:pic>
        <p:nvPicPr>
          <p:cNvPr id="7" name="Grafik 6">
            <a:extLst>
              <a:ext uri="{FF2B5EF4-FFF2-40B4-BE49-F238E27FC236}">
                <a16:creationId xmlns:a16="http://schemas.microsoft.com/office/drawing/2014/main" id="{71BFDFE3-F7EB-2A5E-2FCA-4AE9135B4BDC}"/>
              </a:ext>
            </a:extLst>
          </p:cNvPr>
          <p:cNvPicPr>
            <a:picLocks noChangeAspect="1"/>
          </p:cNvPicPr>
          <p:nvPr/>
        </p:nvPicPr>
        <p:blipFill>
          <a:blip r:embed="rId3"/>
          <a:srcRect l="14037" r="1758"/>
          <a:stretch/>
        </p:blipFill>
        <p:spPr>
          <a:xfrm>
            <a:off x="8396732" y="1489920"/>
            <a:ext cx="3111710" cy="2520000"/>
          </a:xfrm>
          <a:prstGeom prst="rect">
            <a:avLst/>
          </a:prstGeom>
        </p:spPr>
      </p:pic>
      <p:pic>
        <p:nvPicPr>
          <p:cNvPr id="10" name="Picture 8">
            <a:extLst>
              <a:ext uri="{FF2B5EF4-FFF2-40B4-BE49-F238E27FC236}">
                <a16:creationId xmlns:a16="http://schemas.microsoft.com/office/drawing/2014/main" id="{325951FE-6CCD-D814-7635-AB63DE1B6F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9705" y="1489920"/>
            <a:ext cx="1435582" cy="25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Ein Bild, das Text, Screenshot, Cartoon, Grafikdesign enthält.&#10;&#10;Automatisch generierte Beschreibung">
            <a:extLst>
              <a:ext uri="{FF2B5EF4-FFF2-40B4-BE49-F238E27FC236}">
                <a16:creationId xmlns:a16="http://schemas.microsoft.com/office/drawing/2014/main" id="{514DE629-84E9-1D86-4A8A-89CF2372AB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713" y="1484633"/>
            <a:ext cx="1784496" cy="2525287"/>
          </a:xfrm>
          <a:prstGeom prst="rect">
            <a:avLst/>
          </a:prstGeom>
        </p:spPr>
      </p:pic>
      <p:pic>
        <p:nvPicPr>
          <p:cNvPr id="6" name="Grafik 5" descr="Ein Bild, das Kleidung, Person, Schuhwerk, Lächeln enthält.&#10;&#10;KI-generierte Inhalte können fehlerhaft sein.">
            <a:extLst>
              <a:ext uri="{FF2B5EF4-FFF2-40B4-BE49-F238E27FC236}">
                <a16:creationId xmlns:a16="http://schemas.microsoft.com/office/drawing/2014/main" id="{06B17EBB-1ADD-0B7F-8C07-DC8385B49F23}"/>
              </a:ext>
            </a:extLst>
          </p:cNvPr>
          <p:cNvPicPr>
            <a:picLocks noChangeAspect="1"/>
          </p:cNvPicPr>
          <p:nvPr/>
        </p:nvPicPr>
        <p:blipFill>
          <a:blip r:embed="rId6">
            <a:extLst>
              <a:ext uri="{28A0092B-C50C-407E-A947-70E740481C1C}">
                <a14:useLocalDpi xmlns:a14="http://schemas.microsoft.com/office/drawing/2010/main" val="0"/>
              </a:ext>
            </a:extLst>
          </a:blip>
          <a:srcRect l="8259" t="18740" r="9801" b="10448"/>
          <a:stretch/>
        </p:blipFill>
        <p:spPr>
          <a:xfrm>
            <a:off x="599713" y="4176176"/>
            <a:ext cx="3888029" cy="2520000"/>
          </a:xfrm>
          <a:prstGeom prst="rect">
            <a:avLst/>
          </a:prstGeom>
        </p:spPr>
      </p:pic>
      <p:sp>
        <p:nvSpPr>
          <p:cNvPr id="4" name="Foliennummernplatzhalter 3">
            <a:extLst>
              <a:ext uri="{FF2B5EF4-FFF2-40B4-BE49-F238E27FC236}">
                <a16:creationId xmlns:a16="http://schemas.microsoft.com/office/drawing/2014/main" id="{BE52459A-78FB-013E-AEC0-B0134578172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30</a:t>
            </a:fld>
            <a:endParaRPr lang="de-DE">
              <a:solidFill>
                <a:srgbClr val="000000"/>
              </a:solidFill>
            </a:endParaRPr>
          </a:p>
        </p:txBody>
      </p:sp>
    </p:spTree>
    <p:extLst>
      <p:ext uri="{BB962C8B-B14F-4D97-AF65-F5344CB8AC3E}">
        <p14:creationId xmlns:p14="http://schemas.microsoft.com/office/powerpoint/2010/main" val="26522673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descr="Ein Bild, das Person, draußen, Fahrzeug, Landfahrzeug enthält.&#10;&#10;Automatisch generierte Beschreibung">
            <a:extLst>
              <a:ext uri="{FF2B5EF4-FFF2-40B4-BE49-F238E27FC236}">
                <a16:creationId xmlns:a16="http://schemas.microsoft.com/office/drawing/2014/main" id="{340023C1-9290-7B19-E535-D1906894049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a:xfrm>
            <a:off x="6096000" y="0"/>
            <a:ext cx="6096000" cy="6858000"/>
          </a:xfrm>
        </p:spPr>
      </p:pic>
      <p:pic>
        <p:nvPicPr>
          <p:cNvPr id="12" name="Bildplatzhalter 11" descr="Ein Bild, das Grün, Türkis, Kurve enthält.&#10;&#10;Automatisch generierte Beschreibung">
            <a:extLst>
              <a:ext uri="{FF2B5EF4-FFF2-40B4-BE49-F238E27FC236}">
                <a16:creationId xmlns:a16="http://schemas.microsoft.com/office/drawing/2014/main" id="{03630D57-89CE-F52B-1789-31F3C03079B4}"/>
              </a:ext>
            </a:extLst>
          </p:cNvPr>
          <p:cNvPicPr>
            <a:picLocks noGrp="1" noChangeAspect="1"/>
          </p:cNvPicPr>
          <p:nvPr>
            <p:ph type="pic" sz="quarter" idx="11"/>
          </p:nvPr>
        </p:nvPicPr>
        <p:blipFill>
          <a:blip r:embed="rId3" cstate="screen">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0" y="0"/>
            <a:ext cx="6096000" cy="6858000"/>
          </a:xfrm>
        </p:spPr>
      </p:pic>
      <p:sp>
        <p:nvSpPr>
          <p:cNvPr id="19" name="Textplatzhalter 18">
            <a:extLst>
              <a:ext uri="{FF2B5EF4-FFF2-40B4-BE49-F238E27FC236}">
                <a16:creationId xmlns:a16="http://schemas.microsoft.com/office/drawing/2014/main" id="{ABADD824-69B4-DB07-5467-28B3981285A6}"/>
              </a:ext>
            </a:extLst>
          </p:cNvPr>
          <p:cNvSpPr>
            <a:spLocks noGrp="1"/>
          </p:cNvSpPr>
          <p:nvPr>
            <p:ph type="body" sz="quarter" idx="16"/>
          </p:nvPr>
        </p:nvSpPr>
        <p:spPr/>
        <p:txBody>
          <a:bodyPr/>
          <a:lstStyle/>
          <a:p>
            <a:endParaRPr lang="en-US"/>
          </a:p>
        </p:txBody>
      </p:sp>
      <p:sp>
        <p:nvSpPr>
          <p:cNvPr id="20" name="Rechteck 19">
            <a:extLst>
              <a:ext uri="{FF2B5EF4-FFF2-40B4-BE49-F238E27FC236}">
                <a16:creationId xmlns:a16="http://schemas.microsoft.com/office/drawing/2014/main" id="{DEB7846C-AD08-6626-BE74-98B4F46C74B7}"/>
              </a:ext>
            </a:extLst>
          </p:cNvPr>
          <p:cNvSpPr/>
          <p:nvPr/>
        </p:nvSpPr>
        <p:spPr>
          <a:xfrm>
            <a:off x="2135560" y="2529322"/>
            <a:ext cx="3960440" cy="205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t" anchorCtr="0"/>
          <a:lstStyle/>
          <a:p>
            <a:pPr algn="r"/>
            <a:r>
              <a:rPr lang="en-US" sz="3200"/>
              <a:t>Driven by passion</a:t>
            </a:r>
            <a:br>
              <a:rPr lang="en-US" sz="3200"/>
            </a:br>
            <a:r>
              <a:rPr lang="en-US" sz="3200"/>
              <a:t>and science</a:t>
            </a:r>
          </a:p>
        </p:txBody>
      </p:sp>
      <p:sp>
        <p:nvSpPr>
          <p:cNvPr id="21" name="Rechteck 20">
            <a:extLst>
              <a:ext uri="{FF2B5EF4-FFF2-40B4-BE49-F238E27FC236}">
                <a16:creationId xmlns:a16="http://schemas.microsoft.com/office/drawing/2014/main" id="{F2A122D6-FD0F-DD19-0446-4C7FFE1E4229}"/>
              </a:ext>
            </a:extLst>
          </p:cNvPr>
          <p:cNvSpPr/>
          <p:nvPr/>
        </p:nvSpPr>
        <p:spPr>
          <a:xfrm>
            <a:off x="6095999" y="3020256"/>
            <a:ext cx="3942443" cy="205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t" anchorCtr="0"/>
          <a:lstStyle/>
          <a:p>
            <a:r>
              <a:rPr lang="en-US" sz="3200"/>
              <a:t>we always go beyond the surface</a:t>
            </a:r>
          </a:p>
        </p:txBody>
      </p:sp>
      <p:sp>
        <p:nvSpPr>
          <p:cNvPr id="2" name="Foliennummernplatzhalter 1">
            <a:extLst>
              <a:ext uri="{FF2B5EF4-FFF2-40B4-BE49-F238E27FC236}">
                <a16:creationId xmlns:a16="http://schemas.microsoft.com/office/drawing/2014/main" id="{5282AB2B-B642-201E-3ED8-8AB72F429AB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1</a:t>
            </a:fld>
            <a:endParaRPr kumimoji="0" lang="en-US"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3" name="Google Shape;1516;g291664d05b2_0_12">
            <a:extLst>
              <a:ext uri="{FF2B5EF4-FFF2-40B4-BE49-F238E27FC236}">
                <a16:creationId xmlns:a16="http://schemas.microsoft.com/office/drawing/2014/main" id="{F525C602-5E03-BE33-B51D-A5F6A68A86CB}"/>
              </a:ext>
            </a:extLst>
          </p:cNvPr>
          <p:cNvPicPr>
            <a:picLocks noChangeAspect="1"/>
          </p:cNvPicPr>
          <p:nvPr/>
        </p:nvPicPr>
        <p:blipFill>
          <a:blip r:embed="rId5">
            <a:alphaModFix amt="35000"/>
          </a:blip>
          <a:stretch>
            <a:fillRect/>
          </a:stretch>
        </p:blipFill>
        <p:spPr>
          <a:xfrm>
            <a:off x="-702414" y="5084220"/>
            <a:ext cx="2417632" cy="2292501"/>
          </a:xfrm>
          <a:prstGeom prst="rect">
            <a:avLst/>
          </a:prstGeom>
          <a:noFill/>
          <a:ln>
            <a:noFill/>
          </a:ln>
        </p:spPr>
      </p:pic>
    </p:spTree>
    <p:extLst>
      <p:ext uri="{BB962C8B-B14F-4D97-AF65-F5344CB8AC3E}">
        <p14:creationId xmlns:p14="http://schemas.microsoft.com/office/powerpoint/2010/main" val="390585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3A1294-51D6-DE9C-7F51-98A333810B8F}"/>
              </a:ext>
            </a:extLst>
          </p:cNvPr>
          <p:cNvSpPr>
            <a:spLocks noGrp="1"/>
          </p:cNvSpPr>
          <p:nvPr>
            <p:ph type="title"/>
          </p:nvPr>
        </p:nvSpPr>
        <p:spPr>
          <a:xfrm>
            <a:off x="219600" y="432000"/>
            <a:ext cx="11736000" cy="853200"/>
          </a:xfrm>
        </p:spPr>
        <p:txBody>
          <a:bodyPr/>
          <a:lstStyle/>
          <a:p>
            <a:r>
              <a:rPr lang="en-US" dirty="0"/>
              <a:t>BASFs </a:t>
            </a:r>
            <a:r>
              <a:rPr lang="en-US" dirty="0" err="1"/>
              <a:t>Segmentstruktur</a:t>
            </a:r>
            <a:endParaRPr lang="en-US" dirty="0"/>
          </a:p>
        </p:txBody>
      </p:sp>
      <p:sp>
        <p:nvSpPr>
          <p:cNvPr id="5" name="Foliennummernplatzhalter 4">
            <a:extLst>
              <a:ext uri="{FF2B5EF4-FFF2-40B4-BE49-F238E27FC236}">
                <a16:creationId xmlns:a16="http://schemas.microsoft.com/office/drawing/2014/main" id="{F4510A82-225D-9592-428A-A13402B47C83}"/>
              </a:ext>
            </a:extLst>
          </p:cNvPr>
          <p:cNvSpPr>
            <a:spLocks noGrp="1"/>
          </p:cNvSpPr>
          <p:nvPr>
            <p:ph type="sldNum" sz="quarter" idx="12"/>
          </p:nvPr>
        </p:nvSpPr>
        <p:spPr>
          <a:xfrm>
            <a:off x="226800" y="6516000"/>
            <a:ext cx="360000" cy="151200"/>
          </a:xfrm>
          <a:prstGeom prst="rect">
            <a:avLst/>
          </a:prstGeom>
        </p:spPr>
        <p:txBody>
          <a:bodyPr vert="horz" lIns="0" tIns="0" rIns="0" bIns="0" rtlCol="0" anchor="t">
            <a:noAutofit/>
          </a:bodyPr>
          <a:lstStyle>
            <a:defPPr lvl="0">
              <a:defRPr lang="de-DE"/>
            </a:defPPr>
            <a:lvl1pPr marL="0" lvl="1" algn="l" defTabSz="914400" rtl="0" eaLnBrk="1" latinLnBrk="0" hangingPunct="1">
              <a:lnSpc>
                <a:spcPct val="100000"/>
              </a:lnSpc>
              <a:spcBef>
                <a:spcPts val="110"/>
              </a:spcBef>
              <a:spcAft>
                <a:spcPts val="110"/>
              </a:spcAft>
              <a:buNone/>
              <a:defRPr sz="900" b="1" i="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7C0CCF7-DF53-4ADB-AAD8-9742C01AD446}" type="slidenum">
              <a:rPr lang="de-DE" smtClean="0">
                <a:solidFill>
                  <a:srgbClr val="000000"/>
                </a:solidFill>
                <a:latin typeface="Arial" panose="020B0604020202020204"/>
                <a:cs typeface="Arial"/>
              </a:rPr>
              <a:pPr lvl="0">
                <a:defRPr/>
              </a:pPr>
              <a:t>4</a:t>
            </a:fld>
            <a:endParaRPr lang="en-US" dirty="0"/>
          </a:p>
        </p:txBody>
      </p:sp>
      <p:sp>
        <p:nvSpPr>
          <p:cNvPr id="20" name="TextBox 4">
            <a:extLst>
              <a:ext uri="{FF2B5EF4-FFF2-40B4-BE49-F238E27FC236}">
                <a16:creationId xmlns:a16="http://schemas.microsoft.com/office/drawing/2014/main" id="{2AB98CCC-6864-4338-8141-064E99497629}"/>
              </a:ext>
            </a:extLst>
          </p:cNvPr>
          <p:cNvSpPr txBox="1"/>
          <p:nvPr/>
        </p:nvSpPr>
        <p:spPr>
          <a:xfrm>
            <a:off x="6193453" y="1584093"/>
            <a:ext cx="5997405" cy="3241961"/>
          </a:xfrm>
          <a:prstGeom prst="rect">
            <a:avLst/>
          </a:prstGeom>
          <a:solidFill>
            <a:schemeClr val="bg1"/>
          </a:solidFill>
          <a:ln>
            <a:noFill/>
          </a:ln>
        </p:spPr>
        <p:txBody>
          <a:bodyPr wrap="square" rtlCol="0" anchor="t" anchorCtr="0">
            <a:noAutofit/>
          </a:bodyPr>
          <a:lstStyle>
            <a:defPPr>
              <a:defRPr lang="de-DE"/>
            </a:defPPr>
            <a:lvl1pPr algn="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dirty="0">
              <a:ln>
                <a:noFill/>
              </a:ln>
              <a:solidFill>
                <a:srgbClr val="FFFFFF"/>
              </a:solidFill>
              <a:effectLst/>
              <a:uLnTx/>
              <a:uFillTx/>
              <a:latin typeface="Arial" panose="020B0604020202020204"/>
              <a:cs typeface="Arial"/>
            </a:endParaRPr>
          </a:p>
        </p:txBody>
      </p:sp>
      <p:sp>
        <p:nvSpPr>
          <p:cNvPr id="21" name="Textfeld 32">
            <a:extLst>
              <a:ext uri="{FF2B5EF4-FFF2-40B4-BE49-F238E27FC236}">
                <a16:creationId xmlns:a16="http://schemas.microsoft.com/office/drawing/2014/main" id="{6E5DAC71-3066-5699-1751-EBCB56F5C728}"/>
              </a:ext>
            </a:extLst>
          </p:cNvPr>
          <p:cNvSpPr txBox="1"/>
          <p:nvPr/>
        </p:nvSpPr>
        <p:spPr>
          <a:xfrm>
            <a:off x="6193453" y="1593956"/>
            <a:ext cx="6009828" cy="411257"/>
          </a:xfrm>
          <a:prstGeom prst="rect">
            <a:avLst/>
          </a:prstGeom>
          <a:solidFill>
            <a:schemeClr val="accent2"/>
          </a:solidFill>
        </p:spPr>
        <p:txBody>
          <a:bodyPr wrap="square" lIns="36000" tIns="36000" rIns="36000" bIns="36000" rtlCol="0" anchor="t" anchorCtr="0">
            <a:spAutoFit/>
          </a:bodyPr>
          <a:lstStyle>
            <a:defPPr>
              <a:defRPr lang="de-DE"/>
            </a:defPPr>
            <a:lvl1pPr algn="ctr" defTabSz="914309">
              <a:defRPr sz="2000" b="1">
                <a:solidFill>
                  <a:schemeClr val="accent1"/>
                </a:solidFill>
                <a:latin typeface="Arial" panose="020B0604020202020204"/>
                <a:cs typeface="Arial"/>
              </a:defRPr>
            </a:lvl1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dirty="0">
                <a:ln>
                  <a:noFill/>
                </a:ln>
                <a:solidFill>
                  <a:srgbClr val="FFFFFF"/>
                </a:solidFill>
                <a:effectLst/>
                <a:uLnTx/>
                <a:uFillTx/>
                <a:latin typeface="Arial" panose="020B0604020202020204"/>
                <a:cs typeface="Arial"/>
              </a:rPr>
              <a:t>Standalone businesses</a:t>
            </a:r>
          </a:p>
        </p:txBody>
      </p:sp>
      <p:sp>
        <p:nvSpPr>
          <p:cNvPr id="22" name="TextBox 4">
            <a:extLst>
              <a:ext uri="{FF2B5EF4-FFF2-40B4-BE49-F238E27FC236}">
                <a16:creationId xmlns:a16="http://schemas.microsoft.com/office/drawing/2014/main" id="{473EC353-1F65-DEBF-70BE-7261BD0DF297}"/>
              </a:ext>
            </a:extLst>
          </p:cNvPr>
          <p:cNvSpPr txBox="1"/>
          <p:nvPr/>
        </p:nvSpPr>
        <p:spPr>
          <a:xfrm>
            <a:off x="0" y="1576216"/>
            <a:ext cx="5992039" cy="3256940"/>
          </a:xfrm>
          <a:prstGeom prst="rect">
            <a:avLst/>
          </a:prstGeom>
          <a:solidFill>
            <a:schemeClr val="bg2"/>
          </a:solidFill>
          <a:ln>
            <a:noFill/>
          </a:ln>
        </p:spPr>
        <p:txBody>
          <a:bodyPr wrap="square" rtlCol="0" anchor="t" anchorCtr="0">
            <a:noAutofit/>
          </a:bodyPr>
          <a:lstStyle>
            <a:defPPr>
              <a:defRPr lang="de-DE"/>
            </a:defPPr>
            <a:lvl1pPr algn="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dirty="0">
              <a:ln>
                <a:noFill/>
              </a:ln>
              <a:solidFill>
                <a:srgbClr val="FFFFFF"/>
              </a:solidFill>
              <a:effectLst/>
              <a:uLnTx/>
              <a:uFillTx/>
              <a:latin typeface="Arial" panose="020B0604020202020204"/>
              <a:cs typeface="Arial"/>
            </a:endParaRPr>
          </a:p>
        </p:txBody>
      </p:sp>
      <p:sp>
        <p:nvSpPr>
          <p:cNvPr id="23" name="Textfeld 22">
            <a:extLst>
              <a:ext uri="{FF2B5EF4-FFF2-40B4-BE49-F238E27FC236}">
                <a16:creationId xmlns:a16="http://schemas.microsoft.com/office/drawing/2014/main" id="{3F1C8E17-BD31-F970-E426-AEB675B68C81}"/>
              </a:ext>
            </a:extLst>
          </p:cNvPr>
          <p:cNvSpPr txBox="1"/>
          <p:nvPr/>
        </p:nvSpPr>
        <p:spPr>
          <a:xfrm>
            <a:off x="-17789" y="1593957"/>
            <a:ext cx="6009828" cy="430887"/>
          </a:xfrm>
          <a:prstGeom prst="rect">
            <a:avLst/>
          </a:prstGeom>
          <a:solidFill>
            <a:schemeClr val="accent1"/>
          </a:solidFill>
        </p:spPr>
        <p:txBody>
          <a:bodyPr wrap="square" rtlCol="0" anchor="t" anchorCtr="0">
            <a:spAutoFit/>
          </a:bodyPr>
          <a:lstStyle>
            <a:defPPr>
              <a:defRPr lang="de-DE"/>
            </a:defPPr>
            <a:lvl1pPr algn="ctr" defTabSz="914309">
              <a:defRPr sz="1200" b="1">
                <a:solidFill>
                  <a:srgbClr val="FFFFFF"/>
                </a:solidFill>
                <a:latin typeface="Arial" panose="020B0604020202020204"/>
                <a:cs typeface="Arial"/>
              </a:defRPr>
            </a:lvl1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dirty="0">
                <a:ln>
                  <a:noFill/>
                </a:ln>
                <a:solidFill>
                  <a:srgbClr val="FFFFFF"/>
                </a:solidFill>
                <a:effectLst/>
                <a:uLnTx/>
                <a:uFillTx/>
                <a:latin typeface="Arial" panose="020B0604020202020204"/>
                <a:cs typeface="Arial"/>
              </a:rPr>
              <a:t>Core businesses</a:t>
            </a:r>
          </a:p>
        </p:txBody>
      </p:sp>
      <p:pic>
        <p:nvPicPr>
          <p:cNvPr id="24" name="Grafik 23" descr="Ein Bild, das Himmel, Industrie, Gebäude, Pfeife Flöte Rohr enthält.&#10;&#10;Automatisch generierte Beschreibung">
            <a:extLst>
              <a:ext uri="{FF2B5EF4-FFF2-40B4-BE49-F238E27FC236}">
                <a16:creationId xmlns:a16="http://schemas.microsoft.com/office/drawing/2014/main" id="{768F342D-B459-741C-C2BC-948EDA106C31}"/>
              </a:ext>
            </a:extLst>
          </p:cNvPr>
          <p:cNvPicPr preferRelativeResize="0">
            <a:picLocks/>
          </p:cNvPicPr>
          <p:nvPr/>
        </p:nvPicPr>
        <p:blipFill rotWithShape="1">
          <a:blip r:embed="rId2" cstate="screen">
            <a:extLst>
              <a:ext uri="{28A0092B-C50C-407E-A947-70E740481C1C}">
                <a14:useLocalDpi xmlns:a14="http://schemas.microsoft.com/office/drawing/2010/main"/>
              </a:ext>
            </a:extLst>
          </a:blip>
          <a:srcRect t="-1"/>
          <a:stretch/>
        </p:blipFill>
        <p:spPr>
          <a:xfrm>
            <a:off x="219600" y="2674563"/>
            <a:ext cx="1299600" cy="1165203"/>
          </a:xfrm>
          <a:prstGeom prst="rect">
            <a:avLst/>
          </a:prstGeom>
        </p:spPr>
      </p:pic>
      <p:pic>
        <p:nvPicPr>
          <p:cNvPr id="25" name="Grafik 24" descr="Ein Bild, das Person, Essen, Fastfood, Snack enthält.&#10;&#10;Automatisch generierte Beschreibung">
            <a:extLst>
              <a:ext uri="{FF2B5EF4-FFF2-40B4-BE49-F238E27FC236}">
                <a16:creationId xmlns:a16="http://schemas.microsoft.com/office/drawing/2014/main" id="{22897746-2F0A-B992-5CAE-313DF33143C0}"/>
              </a:ext>
            </a:extLst>
          </p:cNvPr>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1631254" y="2674563"/>
            <a:ext cx="1299600" cy="1170886"/>
          </a:xfrm>
          <a:prstGeom prst="rect">
            <a:avLst/>
          </a:prstGeom>
        </p:spPr>
      </p:pic>
      <p:pic>
        <p:nvPicPr>
          <p:cNvPr id="26" name="Grafik 25" descr="Ein Bild, das Person, drinnen, Bett enthält.&#10;&#10;Automatisch generierte Beschreibung">
            <a:extLst>
              <a:ext uri="{FF2B5EF4-FFF2-40B4-BE49-F238E27FC236}">
                <a16:creationId xmlns:a16="http://schemas.microsoft.com/office/drawing/2014/main" id="{E7D56082-CD39-CEA6-614D-F3BD400E193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42908" y="2537480"/>
            <a:ext cx="1299600" cy="1302286"/>
          </a:xfrm>
          <a:prstGeom prst="rect">
            <a:avLst/>
          </a:prstGeom>
        </p:spPr>
      </p:pic>
      <p:pic>
        <p:nvPicPr>
          <p:cNvPr id="27" name="Grafik 26" descr="Ein Bild, das Person, Küchenutensil, Essen, Im Haus enthält.&#10;&#10;Automatisch generierte Beschreibung">
            <a:extLst>
              <a:ext uri="{FF2B5EF4-FFF2-40B4-BE49-F238E27FC236}">
                <a16:creationId xmlns:a16="http://schemas.microsoft.com/office/drawing/2014/main" id="{21459065-9039-6DA5-3E9A-7F98319F3FD8}"/>
              </a:ext>
            </a:extLst>
          </p:cNvPr>
          <p:cNvPicPr preferRelativeResize="0">
            <a:picLocks/>
          </p:cNvPicPr>
          <p:nvPr/>
        </p:nvPicPr>
        <p:blipFill rotWithShape="1">
          <a:blip r:embed="rId5" cstate="screen">
            <a:extLst>
              <a:ext uri="{28A0092B-C50C-407E-A947-70E740481C1C}">
                <a14:useLocalDpi xmlns:a14="http://schemas.microsoft.com/office/drawing/2010/main"/>
              </a:ext>
            </a:extLst>
          </a:blip>
          <a:srcRect t="-1"/>
          <a:stretch/>
        </p:blipFill>
        <p:spPr>
          <a:xfrm>
            <a:off x="4454561" y="2673424"/>
            <a:ext cx="1299600" cy="1154569"/>
          </a:xfrm>
          <a:prstGeom prst="rect">
            <a:avLst/>
          </a:prstGeom>
        </p:spPr>
      </p:pic>
      <p:sp>
        <p:nvSpPr>
          <p:cNvPr id="28" name="Rectangle 40">
            <a:extLst>
              <a:ext uri="{FF2B5EF4-FFF2-40B4-BE49-F238E27FC236}">
                <a16:creationId xmlns:a16="http://schemas.microsoft.com/office/drawing/2014/main" id="{DE570E39-7FC8-5042-9BD6-46CABF1DA20E}"/>
              </a:ext>
            </a:extLst>
          </p:cNvPr>
          <p:cNvSpPr>
            <a:spLocks noChangeArrowheads="1"/>
          </p:cNvSpPr>
          <p:nvPr/>
        </p:nvSpPr>
        <p:spPr bwMode="auto">
          <a:xfrm>
            <a:off x="219600" y="3929595"/>
            <a:ext cx="1299600" cy="654025"/>
          </a:xfrm>
          <a:prstGeom prst="rect">
            <a:avLst/>
          </a:prstGeom>
          <a:noFill/>
          <a:ln>
            <a:noFill/>
          </a:ln>
        </p:spPr>
        <p:txBody>
          <a:bodyPr wrap="square" lIns="0" tIns="0" rIns="0" bIns="0" anchor="t" anchorCtr="0">
            <a:noAutofit/>
          </a:bodyPr>
          <a:lstStyle/>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Petrochemicals</a:t>
            </a:r>
          </a:p>
          <a:p>
            <a:pPr marL="0" marR="0" lvl="0" indent="0" algn="l" defTabSz="739701" rtl="0" eaLnBrk="0" fontAlgn="auto" latinLnBrk="0" hangingPunct="0">
              <a:buClrTx/>
              <a:buSzTx/>
              <a:buFontTx/>
              <a:buNone/>
              <a:tabLst/>
              <a:defRPr/>
            </a:pPr>
            <a:endParaRPr kumimoji="0" lang="en-US" sz="1400" b="0" i="0" u="none" strike="noStrike" kern="0" cap="none" spc="0" normalizeH="0" baseline="0" dirty="0">
              <a:ln>
                <a:noFill/>
              </a:ln>
              <a:solidFill>
                <a:srgbClr val="000000"/>
              </a:solidFill>
              <a:effectLst/>
              <a:uLnTx/>
              <a:uFillTx/>
              <a:latin typeface="Arial" pitchFamily="34" charset="0"/>
              <a:cs typeface="Arial" pitchFamily="34" charset="0"/>
            </a:endParaRPr>
          </a:p>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Intermediates</a:t>
            </a:r>
          </a:p>
        </p:txBody>
      </p:sp>
      <p:sp>
        <p:nvSpPr>
          <p:cNvPr id="29" name="Rectangle 40">
            <a:extLst>
              <a:ext uri="{FF2B5EF4-FFF2-40B4-BE49-F238E27FC236}">
                <a16:creationId xmlns:a16="http://schemas.microsoft.com/office/drawing/2014/main" id="{CFF6E91B-8654-6611-97B8-20D70ECF7B29}"/>
              </a:ext>
            </a:extLst>
          </p:cNvPr>
          <p:cNvSpPr>
            <a:spLocks noChangeArrowheads="1"/>
          </p:cNvSpPr>
          <p:nvPr/>
        </p:nvSpPr>
        <p:spPr bwMode="auto">
          <a:xfrm>
            <a:off x="1631254" y="3929595"/>
            <a:ext cx="1299600" cy="861774"/>
          </a:xfrm>
          <a:prstGeom prst="rect">
            <a:avLst/>
          </a:prstGeom>
          <a:noFill/>
          <a:ln>
            <a:noFill/>
          </a:ln>
        </p:spPr>
        <p:txBody>
          <a:bodyPr wrap="square" lIns="0" tIns="0" rIns="0" bIns="0" anchor="t" anchorCtr="0">
            <a:noAutofit/>
          </a:bodyPr>
          <a:lstStyle/>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Performance </a:t>
            </a:r>
            <a:b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b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Materials</a:t>
            </a:r>
            <a:b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br>
            <a:endParaRPr kumimoji="0" lang="en-US" sz="1400" b="0" i="0" u="none" strike="noStrike" kern="0" cap="none" spc="0" normalizeH="0" baseline="0" dirty="0">
              <a:ln>
                <a:noFill/>
              </a:ln>
              <a:solidFill>
                <a:srgbClr val="000000"/>
              </a:solidFill>
              <a:effectLst/>
              <a:uLnTx/>
              <a:uFillTx/>
              <a:latin typeface="Arial" pitchFamily="34" charset="0"/>
              <a:cs typeface="Arial" pitchFamily="34" charset="0"/>
            </a:endParaRPr>
          </a:p>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Monomers</a:t>
            </a:r>
          </a:p>
        </p:txBody>
      </p:sp>
      <p:sp>
        <p:nvSpPr>
          <p:cNvPr id="30" name="Rectangle 40">
            <a:extLst>
              <a:ext uri="{FF2B5EF4-FFF2-40B4-BE49-F238E27FC236}">
                <a16:creationId xmlns:a16="http://schemas.microsoft.com/office/drawing/2014/main" id="{203AFF96-47DA-655A-5648-7762C9A7245F}"/>
              </a:ext>
            </a:extLst>
          </p:cNvPr>
          <p:cNvSpPr>
            <a:spLocks noChangeArrowheads="1"/>
          </p:cNvSpPr>
          <p:nvPr/>
        </p:nvSpPr>
        <p:spPr bwMode="auto">
          <a:xfrm>
            <a:off x="3042908" y="3929595"/>
            <a:ext cx="1299600" cy="1077218"/>
          </a:xfrm>
          <a:prstGeom prst="rect">
            <a:avLst/>
          </a:prstGeom>
          <a:noFill/>
          <a:ln>
            <a:noFill/>
          </a:ln>
        </p:spPr>
        <p:txBody>
          <a:bodyPr wrap="square" lIns="0" tIns="0" rIns="0" bIns="0" anchor="t" anchorCtr="0">
            <a:noAutofit/>
          </a:bodyPr>
          <a:lstStyle/>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Dispersions</a:t>
            </a:r>
            <a:b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b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amp; Resins</a:t>
            </a:r>
          </a:p>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 </a:t>
            </a:r>
          </a:p>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Performance Chemicals</a:t>
            </a:r>
          </a:p>
        </p:txBody>
      </p:sp>
      <p:sp>
        <p:nvSpPr>
          <p:cNvPr id="31" name="Rectangle 40">
            <a:extLst>
              <a:ext uri="{FF2B5EF4-FFF2-40B4-BE49-F238E27FC236}">
                <a16:creationId xmlns:a16="http://schemas.microsoft.com/office/drawing/2014/main" id="{2364B6C7-2EAB-A21D-4631-26D1199F0B02}"/>
              </a:ext>
            </a:extLst>
          </p:cNvPr>
          <p:cNvSpPr>
            <a:spLocks noChangeArrowheads="1"/>
          </p:cNvSpPr>
          <p:nvPr/>
        </p:nvSpPr>
        <p:spPr bwMode="auto">
          <a:xfrm>
            <a:off x="4454561" y="3929595"/>
            <a:ext cx="1299600" cy="1077218"/>
          </a:xfrm>
          <a:prstGeom prst="rect">
            <a:avLst/>
          </a:prstGeom>
          <a:noFill/>
          <a:ln>
            <a:noFill/>
          </a:ln>
        </p:spPr>
        <p:txBody>
          <a:bodyPr wrap="square" lIns="0" tIns="0" rIns="0" bIns="0" anchor="t" anchorCtr="0">
            <a:noAutofit/>
          </a:bodyPr>
          <a:lstStyle/>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Care Chemicals</a:t>
            </a:r>
          </a:p>
          <a:p>
            <a:pPr marL="0" marR="0" lvl="0" indent="0" algn="l" defTabSz="739701" rtl="0" eaLnBrk="0" fontAlgn="auto" latinLnBrk="0" hangingPunct="0">
              <a:buClrTx/>
              <a:buSzTx/>
              <a:buFontTx/>
              <a:buNone/>
              <a:tabLst/>
              <a:defRPr/>
            </a:pPr>
            <a:b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br>
            <a:endParaRPr kumimoji="0" lang="en-US" sz="1400" b="0" i="0" u="none" strike="noStrike" kern="0" cap="none" spc="0" normalizeH="0" baseline="0" dirty="0">
              <a:ln>
                <a:noFill/>
              </a:ln>
              <a:solidFill>
                <a:srgbClr val="000000"/>
              </a:solidFill>
              <a:effectLst/>
              <a:uLnTx/>
              <a:uFillTx/>
              <a:latin typeface="Arial" pitchFamily="34" charset="0"/>
              <a:cs typeface="Arial" pitchFamily="34" charset="0"/>
            </a:endParaRPr>
          </a:p>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Nutrition &amp; Health</a:t>
            </a:r>
          </a:p>
        </p:txBody>
      </p:sp>
      <p:sp>
        <p:nvSpPr>
          <p:cNvPr id="32" name="Rechteck 12">
            <a:extLst>
              <a:ext uri="{FF2B5EF4-FFF2-40B4-BE49-F238E27FC236}">
                <a16:creationId xmlns:a16="http://schemas.microsoft.com/office/drawing/2014/main" id="{1BBC2548-A250-2A11-64D0-AEC21AA87EC2}"/>
              </a:ext>
            </a:extLst>
          </p:cNvPr>
          <p:cNvSpPr/>
          <p:nvPr/>
        </p:nvSpPr>
        <p:spPr>
          <a:xfrm>
            <a:off x="219600" y="2299922"/>
            <a:ext cx="1299600"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Chemicals</a:t>
            </a:r>
          </a:p>
        </p:txBody>
      </p:sp>
      <p:sp>
        <p:nvSpPr>
          <p:cNvPr id="33" name="Rechteck 13">
            <a:extLst>
              <a:ext uri="{FF2B5EF4-FFF2-40B4-BE49-F238E27FC236}">
                <a16:creationId xmlns:a16="http://schemas.microsoft.com/office/drawing/2014/main" id="{F7780D20-75E8-40C5-2493-684EC4D1F68B}"/>
              </a:ext>
            </a:extLst>
          </p:cNvPr>
          <p:cNvSpPr/>
          <p:nvPr/>
        </p:nvSpPr>
        <p:spPr>
          <a:xfrm>
            <a:off x="1631254" y="2299922"/>
            <a:ext cx="1299600"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Materials</a:t>
            </a:r>
          </a:p>
        </p:txBody>
      </p:sp>
      <p:sp>
        <p:nvSpPr>
          <p:cNvPr id="34" name="Rechteck 14">
            <a:extLst>
              <a:ext uri="{FF2B5EF4-FFF2-40B4-BE49-F238E27FC236}">
                <a16:creationId xmlns:a16="http://schemas.microsoft.com/office/drawing/2014/main" id="{DFD6B530-DD4B-BA74-9C28-D195226668D9}"/>
              </a:ext>
            </a:extLst>
          </p:cNvPr>
          <p:cNvSpPr/>
          <p:nvPr/>
        </p:nvSpPr>
        <p:spPr>
          <a:xfrm>
            <a:off x="3042908" y="2299922"/>
            <a:ext cx="1299600" cy="4681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72000" rIns="36000" bIns="3600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dustrial Solutions</a:t>
            </a:r>
          </a:p>
        </p:txBody>
      </p:sp>
      <p:sp>
        <p:nvSpPr>
          <p:cNvPr id="35" name="Rechteck 15">
            <a:extLst>
              <a:ext uri="{FF2B5EF4-FFF2-40B4-BE49-F238E27FC236}">
                <a16:creationId xmlns:a16="http://schemas.microsoft.com/office/drawing/2014/main" id="{3B9E934D-8997-2637-69CB-819791360CB0}"/>
              </a:ext>
            </a:extLst>
          </p:cNvPr>
          <p:cNvSpPr/>
          <p:nvPr/>
        </p:nvSpPr>
        <p:spPr>
          <a:xfrm>
            <a:off x="4454561" y="2299922"/>
            <a:ext cx="1299600" cy="4681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72000" rIns="36000" bIns="3600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Nutrition &amp;</a:t>
            </a:r>
          </a:p>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 Care</a:t>
            </a:r>
          </a:p>
        </p:txBody>
      </p:sp>
      <p:sp>
        <p:nvSpPr>
          <p:cNvPr id="36" name="Plus 40">
            <a:extLst>
              <a:ext uri="{FF2B5EF4-FFF2-40B4-BE49-F238E27FC236}">
                <a16:creationId xmlns:a16="http://schemas.microsoft.com/office/drawing/2014/main" id="{711E1A7E-F1C4-C2D6-8C80-5A91C54C50A2}"/>
              </a:ext>
            </a:extLst>
          </p:cNvPr>
          <p:cNvSpPr/>
          <p:nvPr/>
        </p:nvSpPr>
        <p:spPr>
          <a:xfrm>
            <a:off x="5751763" y="2942475"/>
            <a:ext cx="721292" cy="721292"/>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dirty="0">
              <a:ln>
                <a:noFill/>
              </a:ln>
              <a:solidFill>
                <a:srgbClr val="FFFFFF"/>
              </a:solidFill>
              <a:effectLst/>
              <a:uLnTx/>
              <a:uFillTx/>
              <a:latin typeface="Arial" panose="020B0604020202020204"/>
              <a:cs typeface="Arial"/>
            </a:endParaRPr>
          </a:p>
        </p:txBody>
      </p:sp>
      <p:sp>
        <p:nvSpPr>
          <p:cNvPr id="37" name="Rectangle 26">
            <a:extLst>
              <a:ext uri="{FF2B5EF4-FFF2-40B4-BE49-F238E27FC236}">
                <a16:creationId xmlns:a16="http://schemas.microsoft.com/office/drawing/2014/main" id="{7CBA49B8-487D-79C6-43C5-9A5954EE9A27}"/>
              </a:ext>
            </a:extLst>
          </p:cNvPr>
          <p:cNvSpPr/>
          <p:nvPr/>
        </p:nvSpPr>
        <p:spPr>
          <a:xfrm>
            <a:off x="6470657" y="3929595"/>
            <a:ext cx="1299600" cy="550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lvl="0">
              <a:defRPr lang="de-DE"/>
            </a:defPPr>
            <a:lvl1pPr marL="0" lvl="1" algn="l" defTabSz="914400" rtl="0" eaLnBrk="1" latinLnBrk="0" hangingPunct="1">
              <a:defRPr sz="1800" kern="1200">
                <a:solidFill>
                  <a:schemeClr val="lt1"/>
                </a:solidFill>
                <a:latin typeface="+mn-lt"/>
                <a:ea typeface="+mn-ea"/>
                <a:cs typeface="+mn-cs"/>
              </a:defRPr>
            </a:lvl1pPr>
            <a:lvl2pPr marL="457200" lvl="2" algn="l" defTabSz="914400" rtl="0" eaLnBrk="1" latinLnBrk="0" hangingPunct="1">
              <a:defRPr sz="1800" kern="1200">
                <a:solidFill>
                  <a:schemeClr val="lt1"/>
                </a:solidFill>
                <a:latin typeface="+mn-lt"/>
                <a:ea typeface="+mn-ea"/>
                <a:cs typeface="+mn-cs"/>
              </a:defRPr>
            </a:lvl2pPr>
            <a:lvl3pPr marL="914400" lvl="3" algn="l" defTabSz="914400" rtl="0" eaLnBrk="1" latinLnBrk="0" hangingPunct="1">
              <a:defRPr sz="1800" kern="1200">
                <a:solidFill>
                  <a:schemeClr val="lt1"/>
                </a:solidFill>
                <a:latin typeface="+mn-lt"/>
                <a:ea typeface="+mn-ea"/>
                <a:cs typeface="+mn-cs"/>
              </a:defRPr>
            </a:lvl3pPr>
            <a:lvl4pPr marL="1371600" lvl="4"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1400" b="0" i="0" u="none" strike="noStrike" kern="1200" cap="none" spc="0" normalizeH="0" baseline="0" dirty="0">
                <a:ln>
                  <a:noFill/>
                </a:ln>
                <a:solidFill>
                  <a:srgbClr val="000000"/>
                </a:solidFill>
                <a:effectLst/>
                <a:uLnTx/>
                <a:uFillTx/>
                <a:latin typeface="Arial" panose="020B0604020202020204"/>
                <a:cs typeface="Arial"/>
              </a:rPr>
              <a:t>Environmental Catalyst and </a:t>
            </a:r>
            <a:br>
              <a:rPr kumimoji="0" lang="en-US" sz="1400" b="0" i="0" u="none" strike="noStrike" kern="1200" cap="none" spc="0" normalizeH="0" baseline="0" dirty="0">
                <a:ln>
                  <a:noFill/>
                </a:ln>
                <a:solidFill>
                  <a:srgbClr val="000000"/>
                </a:solidFill>
                <a:effectLst/>
                <a:uLnTx/>
                <a:uFillTx/>
                <a:latin typeface="Arial" panose="020B0604020202020204"/>
                <a:cs typeface="Arial"/>
              </a:rPr>
            </a:br>
            <a:r>
              <a:rPr kumimoji="0" lang="en-US" sz="1400" b="0" i="0" u="none" strike="noStrike" kern="1200" cap="none" spc="0" normalizeH="0" baseline="0" dirty="0">
                <a:ln>
                  <a:noFill/>
                </a:ln>
                <a:solidFill>
                  <a:srgbClr val="000000"/>
                </a:solidFill>
                <a:effectLst/>
                <a:uLnTx/>
                <a:uFillTx/>
                <a:latin typeface="Arial" panose="020B0604020202020204"/>
                <a:cs typeface="Arial"/>
              </a:rPr>
              <a:t>Metal Solutions</a:t>
            </a:r>
          </a:p>
        </p:txBody>
      </p:sp>
      <p:sp>
        <p:nvSpPr>
          <p:cNvPr id="38" name="Rectangle 27">
            <a:extLst>
              <a:ext uri="{FF2B5EF4-FFF2-40B4-BE49-F238E27FC236}">
                <a16:creationId xmlns:a16="http://schemas.microsoft.com/office/drawing/2014/main" id="{2F06BB5C-F6F2-0192-F563-8809D1127D13}"/>
              </a:ext>
            </a:extLst>
          </p:cNvPr>
          <p:cNvSpPr/>
          <p:nvPr/>
        </p:nvSpPr>
        <p:spPr>
          <a:xfrm>
            <a:off x="7864970" y="3929595"/>
            <a:ext cx="1299600" cy="550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lvl="0">
              <a:defRPr lang="de-DE"/>
            </a:defPPr>
            <a:lvl1pPr marL="0" lvl="1" algn="l" defTabSz="914400" rtl="0" eaLnBrk="1" latinLnBrk="0" hangingPunct="1">
              <a:defRPr sz="1800" kern="1200">
                <a:solidFill>
                  <a:schemeClr val="lt1"/>
                </a:solidFill>
                <a:latin typeface="+mn-lt"/>
                <a:ea typeface="+mn-ea"/>
                <a:cs typeface="+mn-cs"/>
              </a:defRPr>
            </a:lvl1pPr>
            <a:lvl2pPr marL="457200" lvl="2" algn="l" defTabSz="914400" rtl="0" eaLnBrk="1" latinLnBrk="0" hangingPunct="1">
              <a:defRPr sz="1800" kern="1200">
                <a:solidFill>
                  <a:schemeClr val="lt1"/>
                </a:solidFill>
                <a:latin typeface="+mn-lt"/>
                <a:ea typeface="+mn-ea"/>
                <a:cs typeface="+mn-cs"/>
              </a:defRPr>
            </a:lvl2pPr>
            <a:lvl3pPr marL="914400" lvl="3" algn="l" defTabSz="914400" rtl="0" eaLnBrk="1" latinLnBrk="0" hangingPunct="1">
              <a:defRPr sz="1800" kern="1200">
                <a:solidFill>
                  <a:schemeClr val="lt1"/>
                </a:solidFill>
                <a:latin typeface="+mn-lt"/>
                <a:ea typeface="+mn-ea"/>
                <a:cs typeface="+mn-cs"/>
              </a:defRPr>
            </a:lvl3pPr>
            <a:lvl4pPr marL="1371600" lvl="4"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1400" b="0" i="0" u="none" strike="noStrike" kern="1200" cap="none" spc="0" normalizeH="0" baseline="0" dirty="0">
                <a:ln>
                  <a:noFill/>
                </a:ln>
                <a:solidFill>
                  <a:srgbClr val="000000"/>
                </a:solidFill>
                <a:effectLst/>
                <a:uLnTx/>
                <a:uFillTx/>
                <a:latin typeface="Arial" panose="020B0604020202020204"/>
                <a:cs typeface="Arial"/>
              </a:rPr>
              <a:t>Battery Materials</a:t>
            </a:r>
          </a:p>
        </p:txBody>
      </p:sp>
      <p:sp>
        <p:nvSpPr>
          <p:cNvPr id="39" name="Rectangle 28">
            <a:extLst>
              <a:ext uri="{FF2B5EF4-FFF2-40B4-BE49-F238E27FC236}">
                <a16:creationId xmlns:a16="http://schemas.microsoft.com/office/drawing/2014/main" id="{FC189392-4D3D-3DDA-AC74-2D3A0F2E30FB}"/>
              </a:ext>
            </a:extLst>
          </p:cNvPr>
          <p:cNvSpPr/>
          <p:nvPr/>
        </p:nvSpPr>
        <p:spPr>
          <a:xfrm>
            <a:off x="9260896" y="3929595"/>
            <a:ext cx="1299600" cy="550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lvl="0">
              <a:defRPr lang="de-DE"/>
            </a:defPPr>
            <a:lvl1pPr marL="0" lvl="1" algn="l" defTabSz="914400" rtl="0" eaLnBrk="1" latinLnBrk="0" hangingPunct="1">
              <a:defRPr sz="1800" kern="1200">
                <a:solidFill>
                  <a:schemeClr val="lt1"/>
                </a:solidFill>
                <a:latin typeface="+mn-lt"/>
                <a:ea typeface="+mn-ea"/>
                <a:cs typeface="+mn-cs"/>
              </a:defRPr>
            </a:lvl1pPr>
            <a:lvl2pPr marL="457200" lvl="2" algn="l" defTabSz="914400" rtl="0" eaLnBrk="1" latinLnBrk="0" hangingPunct="1">
              <a:defRPr sz="1800" kern="1200">
                <a:solidFill>
                  <a:schemeClr val="lt1"/>
                </a:solidFill>
                <a:latin typeface="+mn-lt"/>
                <a:ea typeface="+mn-ea"/>
                <a:cs typeface="+mn-cs"/>
              </a:defRPr>
            </a:lvl2pPr>
            <a:lvl3pPr marL="914400" lvl="3" algn="l" defTabSz="914400" rtl="0" eaLnBrk="1" latinLnBrk="0" hangingPunct="1">
              <a:defRPr sz="1800" kern="1200">
                <a:solidFill>
                  <a:schemeClr val="lt1"/>
                </a:solidFill>
                <a:latin typeface="+mn-lt"/>
                <a:ea typeface="+mn-ea"/>
                <a:cs typeface="+mn-cs"/>
              </a:defRPr>
            </a:lvl3pPr>
            <a:lvl4pPr marL="1371600" lvl="4"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b="1" i="0" u="none" strike="noStrike" kern="1200" cap="none" spc="0" normalizeH="0" baseline="0" dirty="0">
                <a:ln>
                  <a:noFill/>
                </a:ln>
                <a:solidFill>
                  <a:schemeClr val="accent1"/>
                </a:solidFill>
                <a:effectLst/>
                <a:uLnTx/>
                <a:uFillTx/>
                <a:latin typeface="Arial" panose="020B0604020202020204"/>
                <a:cs typeface="Arial"/>
              </a:rPr>
              <a:t>Coatings</a:t>
            </a:r>
            <a:endParaRPr lang="en-US" b="1" i="0" u="none" strike="noStrike" kern="1200" cap="none" spc="0" normalizeH="0" baseline="0" dirty="0">
              <a:ln>
                <a:noFill/>
              </a:ln>
              <a:solidFill>
                <a:schemeClr val="accent1"/>
              </a:solidFill>
              <a:effectLst/>
              <a:uLnTx/>
              <a:uFillTx/>
              <a:latin typeface="Arial" panose="020B0604020202020204"/>
              <a:cs typeface="Arial"/>
            </a:endParaRPr>
          </a:p>
        </p:txBody>
      </p:sp>
      <p:pic>
        <p:nvPicPr>
          <p:cNvPr id="40" name="Grafik 24" descr="Ein Bild, das Gemüse, Bohnen, Himmel, draußen enthält.&#10;&#10;Automatisch generierte Beschreibung">
            <a:extLst>
              <a:ext uri="{FF2B5EF4-FFF2-40B4-BE49-F238E27FC236}">
                <a16:creationId xmlns:a16="http://schemas.microsoft.com/office/drawing/2014/main" id="{C43CDE52-8065-0A6E-D10E-6DCB4B6470D0}"/>
              </a:ext>
            </a:extLst>
          </p:cNvPr>
          <p:cNvPicPr preferRelativeResize="0">
            <a:picLocks/>
          </p:cNvPicPr>
          <p:nvPr/>
        </p:nvPicPr>
        <p:blipFill rotWithShape="1">
          <a:blip r:embed="rId6" cstate="screen">
            <a:extLst>
              <a:ext uri="{28A0092B-C50C-407E-A947-70E740481C1C}">
                <a14:useLocalDpi xmlns:a14="http://schemas.microsoft.com/office/drawing/2010/main"/>
              </a:ext>
            </a:extLst>
          </a:blip>
          <a:srcRect/>
          <a:stretch/>
        </p:blipFill>
        <p:spPr>
          <a:xfrm>
            <a:off x="10668652" y="2694353"/>
            <a:ext cx="1296000" cy="1152395"/>
          </a:xfrm>
          <a:prstGeom prst="rect">
            <a:avLst/>
          </a:prstGeom>
        </p:spPr>
      </p:pic>
      <p:pic>
        <p:nvPicPr>
          <p:cNvPr id="41" name="Grafik 33" descr="Ein Bild, das Himmel, Boot, Blau enthält.&#10;&#10;Automatisch generierte Beschreibung">
            <a:extLst>
              <a:ext uri="{FF2B5EF4-FFF2-40B4-BE49-F238E27FC236}">
                <a16:creationId xmlns:a16="http://schemas.microsoft.com/office/drawing/2014/main" id="{987C9424-A6CE-2FE3-B934-78E9221F81B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260896" y="2545301"/>
            <a:ext cx="1299600" cy="1301838"/>
          </a:xfrm>
          <a:prstGeom prst="rect">
            <a:avLst/>
          </a:prstGeom>
        </p:spPr>
      </p:pic>
      <p:pic>
        <p:nvPicPr>
          <p:cNvPr id="42" name="Grafik 41">
            <a:extLst>
              <a:ext uri="{FF2B5EF4-FFF2-40B4-BE49-F238E27FC236}">
                <a16:creationId xmlns:a16="http://schemas.microsoft.com/office/drawing/2014/main" id="{03A10582-784D-E705-7DAC-562F8C32CDBC}"/>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470657" y="2759103"/>
            <a:ext cx="1299600" cy="1088036"/>
          </a:xfrm>
          <a:prstGeom prst="rect">
            <a:avLst/>
          </a:prstGeom>
        </p:spPr>
      </p:pic>
      <p:sp>
        <p:nvSpPr>
          <p:cNvPr id="43" name="Rectangle 40">
            <a:extLst>
              <a:ext uri="{FF2B5EF4-FFF2-40B4-BE49-F238E27FC236}">
                <a16:creationId xmlns:a16="http://schemas.microsoft.com/office/drawing/2014/main" id="{178ABF43-3E19-2F71-2AF2-8D5C17A8F637}"/>
              </a:ext>
            </a:extLst>
          </p:cNvPr>
          <p:cNvSpPr>
            <a:spLocks noChangeArrowheads="1"/>
          </p:cNvSpPr>
          <p:nvPr/>
        </p:nvSpPr>
        <p:spPr bwMode="auto">
          <a:xfrm>
            <a:off x="10668652" y="3929595"/>
            <a:ext cx="1296000" cy="430887"/>
          </a:xfrm>
          <a:prstGeom prst="rect">
            <a:avLst/>
          </a:prstGeom>
          <a:noFill/>
          <a:ln>
            <a:noFill/>
          </a:ln>
        </p:spPr>
        <p:txBody>
          <a:bodyPr wrap="square" lIns="0" tIns="0" rIns="0" bIns="0" anchor="t" anchorCtr="0">
            <a:noAutofit/>
          </a:bodyPr>
          <a:lstStyle/>
          <a:p>
            <a:pPr marL="0" marR="0" lvl="0" indent="0" algn="l" defTabSz="739701" rtl="0" eaLnBrk="0" fontAlgn="auto" latinLnBrk="0" hangingPunct="0">
              <a:buClrTx/>
              <a:buSzTx/>
              <a:buFontTx/>
              <a:buNone/>
              <a:tabLst/>
              <a:defRPr/>
            </a:pP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Agricultural </a:t>
            </a:r>
            <a:b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br>
            <a:r>
              <a:rPr kumimoji="0" lang="en-US" sz="1400" b="0" i="0" u="none" strike="noStrike" kern="0" cap="none" spc="0" normalizeH="0" baseline="0" dirty="0">
                <a:ln>
                  <a:noFill/>
                </a:ln>
                <a:solidFill>
                  <a:srgbClr val="000000"/>
                </a:solidFill>
                <a:effectLst/>
                <a:uLnTx/>
                <a:uFillTx/>
                <a:latin typeface="Arial" pitchFamily="34" charset="0"/>
                <a:cs typeface="Arial" pitchFamily="34" charset="0"/>
              </a:rPr>
              <a:t>Solutions</a:t>
            </a:r>
          </a:p>
        </p:txBody>
      </p:sp>
      <p:sp>
        <p:nvSpPr>
          <p:cNvPr id="44" name="Rechteck 12">
            <a:extLst>
              <a:ext uri="{FF2B5EF4-FFF2-40B4-BE49-F238E27FC236}">
                <a16:creationId xmlns:a16="http://schemas.microsoft.com/office/drawing/2014/main" id="{3C90913C-38A6-5FC6-045E-DEA54E670A6F}"/>
              </a:ext>
            </a:extLst>
          </p:cNvPr>
          <p:cNvSpPr/>
          <p:nvPr/>
        </p:nvSpPr>
        <p:spPr>
          <a:xfrm>
            <a:off x="10668652" y="2263951"/>
            <a:ext cx="1296000" cy="5399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72000" rIns="36000" bIns="36000" rtlCol="0" anchor="ctr">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Agricultural</a:t>
            </a:r>
          </a:p>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Solutions</a:t>
            </a:r>
          </a:p>
        </p:txBody>
      </p:sp>
      <p:pic>
        <p:nvPicPr>
          <p:cNvPr id="45" name="Grafik 44" descr="Ein Bild, das Himmel, Person, draußen, Fahrzeug enthält.&#10;&#10;Automatisch generierte Beschreibung">
            <a:extLst>
              <a:ext uri="{FF2B5EF4-FFF2-40B4-BE49-F238E27FC236}">
                <a16:creationId xmlns:a16="http://schemas.microsoft.com/office/drawing/2014/main" id="{4B7B3EE6-31A7-F10D-CB4C-289DBD1B14D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7866584" y="2547539"/>
            <a:ext cx="1297986" cy="1299600"/>
          </a:xfrm>
          <a:prstGeom prst="rect">
            <a:avLst/>
          </a:prstGeom>
        </p:spPr>
      </p:pic>
      <p:sp>
        <p:nvSpPr>
          <p:cNvPr id="46" name="Rechteck 12">
            <a:extLst>
              <a:ext uri="{FF2B5EF4-FFF2-40B4-BE49-F238E27FC236}">
                <a16:creationId xmlns:a16="http://schemas.microsoft.com/office/drawing/2014/main" id="{A10EB028-2A0A-D40B-8596-D7256961C902}"/>
              </a:ext>
            </a:extLst>
          </p:cNvPr>
          <p:cNvSpPr/>
          <p:nvPr/>
        </p:nvSpPr>
        <p:spPr>
          <a:xfrm>
            <a:off x="6470782" y="2299922"/>
            <a:ext cx="4089714" cy="46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5995" rIns="35995" bIns="35995"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Surface Technologies</a:t>
            </a:r>
          </a:p>
        </p:txBody>
      </p:sp>
      <p:sp>
        <p:nvSpPr>
          <p:cNvPr id="47" name="Rechteck 46">
            <a:extLst>
              <a:ext uri="{FF2B5EF4-FFF2-40B4-BE49-F238E27FC236}">
                <a16:creationId xmlns:a16="http://schemas.microsoft.com/office/drawing/2014/main" id="{ADA488C4-C4DB-CFF6-02E4-FE3609B0758A}"/>
              </a:ext>
            </a:extLst>
          </p:cNvPr>
          <p:cNvSpPr/>
          <p:nvPr/>
        </p:nvSpPr>
        <p:spPr>
          <a:xfrm>
            <a:off x="5195900" y="6660850"/>
            <a:ext cx="1280620" cy="197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4553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A27749C0-D53D-C094-5442-2634D94FE3D6}"/>
              </a:ext>
            </a:extLst>
          </p:cNvPr>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a:stretch/>
        </p:blipFill>
        <p:spPr/>
      </p:pic>
      <p:sp>
        <p:nvSpPr>
          <p:cNvPr id="5" name="Foliennummernplatzhalter 4">
            <a:extLst>
              <a:ext uri="{FF2B5EF4-FFF2-40B4-BE49-F238E27FC236}">
                <a16:creationId xmlns:a16="http://schemas.microsoft.com/office/drawing/2014/main" id="{BE607DBE-96F3-61EF-5CCB-32D8219D809C}"/>
              </a:ext>
            </a:extLst>
          </p:cNvPr>
          <p:cNvSpPr>
            <a:spLocks noGrp="1"/>
          </p:cNvSpPr>
          <p:nvPr>
            <p:ph type="sldNum" sz="quarter" idx="12"/>
          </p:nvPr>
        </p:nvSpPr>
        <p:spPr/>
        <p:txBody>
          <a:bodyPr/>
          <a:lstStyle/>
          <a:p>
            <a:fld id="{D7C0CCF7-DF53-4ADB-AAD8-9742C01AD446}" type="slidenum">
              <a:rPr lang="en-US" smtClean="0"/>
              <a:pPr/>
              <a:t>5</a:t>
            </a:fld>
            <a:endParaRPr lang="en-US" dirty="0"/>
          </a:p>
        </p:txBody>
      </p:sp>
      <p:sp>
        <p:nvSpPr>
          <p:cNvPr id="9" name="Titel 8">
            <a:extLst>
              <a:ext uri="{FF2B5EF4-FFF2-40B4-BE49-F238E27FC236}">
                <a16:creationId xmlns:a16="http://schemas.microsoft.com/office/drawing/2014/main" id="{CA65AB08-C84A-9BCD-61C1-7737724DBDCC}"/>
              </a:ext>
            </a:extLst>
          </p:cNvPr>
          <p:cNvSpPr>
            <a:spLocks noGrp="1"/>
          </p:cNvSpPr>
          <p:nvPr>
            <p:ph type="title"/>
          </p:nvPr>
        </p:nvSpPr>
        <p:spPr/>
        <p:txBody>
          <a:bodyPr/>
          <a:lstStyle/>
          <a:p>
            <a:r>
              <a:rPr lang="en-US" dirty="0">
                <a:latin typeface="+mn-lt"/>
              </a:rPr>
              <a:t>BASF Coatings at a glance</a:t>
            </a:r>
          </a:p>
        </p:txBody>
      </p:sp>
      <p:sp>
        <p:nvSpPr>
          <p:cNvPr id="10" name="Textplatzhalter 9">
            <a:extLst>
              <a:ext uri="{FF2B5EF4-FFF2-40B4-BE49-F238E27FC236}">
                <a16:creationId xmlns:a16="http://schemas.microsoft.com/office/drawing/2014/main" id="{269C49CC-3E30-311E-A965-31CC02522016}"/>
              </a:ext>
            </a:extLst>
          </p:cNvPr>
          <p:cNvSpPr>
            <a:spLocks noGrp="1"/>
          </p:cNvSpPr>
          <p:nvPr>
            <p:ph type="body" sz="quarter" idx="13"/>
          </p:nvPr>
        </p:nvSpPr>
        <p:spPr/>
        <p:txBody>
          <a:bodyPr/>
          <a:lstStyle/>
          <a:p>
            <a:r>
              <a:rPr lang="en-US" dirty="0"/>
              <a:t>02</a:t>
            </a:r>
          </a:p>
        </p:txBody>
      </p:sp>
      <p:sp>
        <p:nvSpPr>
          <p:cNvPr id="2" name="Textplatzhalter 1">
            <a:extLst>
              <a:ext uri="{FF2B5EF4-FFF2-40B4-BE49-F238E27FC236}">
                <a16:creationId xmlns:a16="http://schemas.microsoft.com/office/drawing/2014/main" id="{D0921B47-09B6-F894-3D2E-0DE995EDE3F1}"/>
              </a:ext>
            </a:extLst>
          </p:cNvPr>
          <p:cNvSpPr>
            <a:spLocks noGrp="1"/>
          </p:cNvSpPr>
          <p:nvPr>
            <p:ph type="body" sz="quarter" idx="16"/>
          </p:nvPr>
        </p:nvSpPr>
        <p:spPr/>
        <p:txBody>
          <a:bodyPr/>
          <a:lstStyle/>
          <a:p>
            <a:endParaRPr lang="de-DE" dirty="0"/>
          </a:p>
        </p:txBody>
      </p:sp>
    </p:spTree>
    <p:extLst>
      <p:ext uri="{BB962C8B-B14F-4D97-AF65-F5344CB8AC3E}">
        <p14:creationId xmlns:p14="http://schemas.microsoft.com/office/powerpoint/2010/main" val="105680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A2735468-EF05-2BF0-F308-0F3D6AE96099}"/>
              </a:ext>
            </a:extLst>
          </p:cNvPr>
          <p:cNvPicPr>
            <a:picLocks noChangeAspect="1"/>
          </p:cNvPicPr>
          <p:nvPr/>
        </p:nvPicPr>
        <p:blipFill rotWithShape="1">
          <a:blip r:embed="rId2">
            <a:extLst>
              <a:ext uri="{28A0092B-C50C-407E-A947-70E740481C1C}">
                <a14:useLocalDpi xmlns:a14="http://schemas.microsoft.com/office/drawing/2010/main" val="0"/>
              </a:ext>
            </a:extLst>
          </a:blip>
          <a:srcRect l="191" t="8878" r="191" b="6123"/>
          <a:stretch/>
        </p:blipFill>
        <p:spPr>
          <a:xfrm>
            <a:off x="3182623" y="1773239"/>
            <a:ext cx="2909613" cy="1655761"/>
          </a:xfrm>
          <a:prstGeom prst="rect">
            <a:avLst/>
          </a:prstGeom>
        </p:spPr>
      </p:pic>
      <p:sp>
        <p:nvSpPr>
          <p:cNvPr id="2" name="Titel 1">
            <a:extLst>
              <a:ext uri="{FF2B5EF4-FFF2-40B4-BE49-F238E27FC236}">
                <a16:creationId xmlns:a16="http://schemas.microsoft.com/office/drawing/2014/main" id="{8EF6180A-FBED-CBD7-8C6F-AC6FEADC5D29}"/>
              </a:ext>
            </a:extLst>
          </p:cNvPr>
          <p:cNvSpPr>
            <a:spLocks noGrp="1"/>
          </p:cNvSpPr>
          <p:nvPr>
            <p:ph type="title"/>
          </p:nvPr>
        </p:nvSpPr>
        <p:spPr/>
        <p:txBody>
          <a:bodyPr vert="horz"/>
          <a:lstStyle/>
          <a:p>
            <a:r>
              <a:rPr lang="en-US" dirty="0">
                <a:latin typeface="+mn-lt"/>
              </a:rPr>
              <a:t>A leading surface solution provider with strong focus on automotive</a:t>
            </a:r>
          </a:p>
        </p:txBody>
      </p:sp>
      <p:sp>
        <p:nvSpPr>
          <p:cNvPr id="5" name="Foliennummernplatzhalter 4">
            <a:extLst>
              <a:ext uri="{FF2B5EF4-FFF2-40B4-BE49-F238E27FC236}">
                <a16:creationId xmlns:a16="http://schemas.microsoft.com/office/drawing/2014/main" id="{B4512300-40C7-B594-BEEE-908839B7304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a:t>
            </a:fld>
            <a:endParaRPr kumimoji="0" lang="en-US" sz="900" b="1" i="0" u="none" strike="noStrike" kern="1200" cap="none" spc="0" normalizeH="0" baseline="0" noProof="0" dirty="0">
              <a:ln>
                <a:noFill/>
              </a:ln>
              <a:solidFill>
                <a:srgbClr val="000000"/>
              </a:solidFill>
              <a:effectLst/>
              <a:uLnTx/>
              <a:uFillTx/>
              <a:cs typeface="Arial"/>
            </a:endParaRPr>
          </a:p>
        </p:txBody>
      </p:sp>
      <p:pic>
        <p:nvPicPr>
          <p:cNvPr id="65" name="Grafik 64">
            <a:extLst>
              <a:ext uri="{FF2B5EF4-FFF2-40B4-BE49-F238E27FC236}">
                <a16:creationId xmlns:a16="http://schemas.microsoft.com/office/drawing/2014/main" id="{5E435605-2CDC-97F8-BFB6-658D31D57C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08607" y="1773240"/>
            <a:ext cx="2952000" cy="1655760"/>
          </a:xfrm>
          <a:prstGeom prst="rect">
            <a:avLst/>
          </a:prstGeom>
        </p:spPr>
      </p:pic>
      <p:pic>
        <p:nvPicPr>
          <p:cNvPr id="66" name="Grafik 65">
            <a:extLst>
              <a:ext uri="{FF2B5EF4-FFF2-40B4-BE49-F238E27FC236}">
                <a16:creationId xmlns:a16="http://schemas.microsoft.com/office/drawing/2014/main" id="{4389C14C-F3D6-F52E-33E5-27F0DA87C14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4261" y="1773240"/>
            <a:ext cx="2916000" cy="1655760"/>
          </a:xfrm>
          <a:prstGeom prst="rect">
            <a:avLst/>
          </a:prstGeom>
        </p:spPr>
      </p:pic>
      <p:pic>
        <p:nvPicPr>
          <p:cNvPr id="67" name="Grafik 66">
            <a:extLst>
              <a:ext uri="{FF2B5EF4-FFF2-40B4-BE49-F238E27FC236}">
                <a16:creationId xmlns:a16="http://schemas.microsoft.com/office/drawing/2014/main" id="{EDA40A51-ED72-7E96-9DF1-DA9BF5113BC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28600" y="1773240"/>
            <a:ext cx="2952000" cy="1655760"/>
          </a:xfrm>
          <a:prstGeom prst="rect">
            <a:avLst/>
          </a:prstGeom>
        </p:spPr>
      </p:pic>
      <p:sp>
        <p:nvSpPr>
          <p:cNvPr id="69" name="Textplatzhalter 2">
            <a:extLst>
              <a:ext uri="{FF2B5EF4-FFF2-40B4-BE49-F238E27FC236}">
                <a16:creationId xmlns:a16="http://schemas.microsoft.com/office/drawing/2014/main" id="{FB3EE426-66EC-DBDF-9C77-225A6E1D2280}"/>
              </a:ext>
            </a:extLst>
          </p:cNvPr>
          <p:cNvSpPr txBox="1">
            <a:spLocks/>
          </p:cNvSpPr>
          <p:nvPr/>
        </p:nvSpPr>
        <p:spPr>
          <a:xfrm>
            <a:off x="228600" y="3537012"/>
            <a:ext cx="2736000" cy="1872000"/>
          </a:xfrm>
          <a:prstGeom prst="rect">
            <a:avLst/>
          </a:prstGeom>
        </p:spPr>
        <p:txBody>
          <a:bodyPr vert="horz" lIns="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indent="0">
              <a:buNone/>
            </a:pPr>
            <a:r>
              <a:rPr lang="en-US" sz="1600" b="1" dirty="0"/>
              <a:t>Surface</a:t>
            </a:r>
            <a:br>
              <a:rPr lang="en-US" sz="1600" b="1" dirty="0"/>
            </a:br>
            <a:r>
              <a:rPr lang="en-US" sz="1600" b="1" dirty="0"/>
              <a:t>Treatment</a:t>
            </a:r>
          </a:p>
        </p:txBody>
      </p:sp>
      <p:sp>
        <p:nvSpPr>
          <p:cNvPr id="70" name="Textplatzhalter 2">
            <a:extLst>
              <a:ext uri="{FF2B5EF4-FFF2-40B4-BE49-F238E27FC236}">
                <a16:creationId xmlns:a16="http://schemas.microsoft.com/office/drawing/2014/main" id="{D480F00D-5AF6-24AA-008D-6D5A6633749A}"/>
              </a:ext>
            </a:extLst>
          </p:cNvPr>
          <p:cNvSpPr txBox="1">
            <a:spLocks/>
          </p:cNvSpPr>
          <p:nvPr/>
        </p:nvSpPr>
        <p:spPr>
          <a:xfrm>
            <a:off x="9228348" y="3537012"/>
            <a:ext cx="2736000" cy="1872000"/>
          </a:xfrm>
          <a:prstGeom prst="rect">
            <a:avLst/>
          </a:prstGeom>
        </p:spPr>
        <p:txBody>
          <a:bodyPr vert="horz" lIns="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indent="0">
              <a:buNone/>
            </a:pPr>
            <a:r>
              <a:rPr lang="en-US" sz="1600" b="1" dirty="0"/>
              <a:t>Decorative</a:t>
            </a:r>
            <a:br>
              <a:rPr lang="en-US" sz="1600" b="1" dirty="0"/>
            </a:br>
            <a:r>
              <a:rPr lang="en-US" sz="1600" b="1" dirty="0"/>
              <a:t>Paints</a:t>
            </a:r>
          </a:p>
        </p:txBody>
      </p:sp>
      <p:sp>
        <p:nvSpPr>
          <p:cNvPr id="71" name="Textplatzhalter 2">
            <a:extLst>
              <a:ext uri="{FF2B5EF4-FFF2-40B4-BE49-F238E27FC236}">
                <a16:creationId xmlns:a16="http://schemas.microsoft.com/office/drawing/2014/main" id="{84A36FC2-2AF8-4C64-98E2-A63F79771537}"/>
              </a:ext>
            </a:extLst>
          </p:cNvPr>
          <p:cNvSpPr txBox="1">
            <a:spLocks/>
          </p:cNvSpPr>
          <p:nvPr/>
        </p:nvSpPr>
        <p:spPr>
          <a:xfrm>
            <a:off x="3341918" y="3537012"/>
            <a:ext cx="2592000" cy="1872000"/>
          </a:xfrm>
          <a:prstGeom prst="rect">
            <a:avLst/>
          </a:prstGeom>
        </p:spPr>
        <p:txBody>
          <a:bodyPr vert="horz" lIns="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indent="0">
              <a:buNone/>
            </a:pPr>
            <a:r>
              <a:rPr lang="en-US" sz="1600" b="1" dirty="0"/>
              <a:t>Automotive</a:t>
            </a:r>
            <a:br>
              <a:rPr lang="en-US" sz="1600" b="1" dirty="0"/>
            </a:br>
            <a:r>
              <a:rPr lang="en-US" sz="1600" b="1" dirty="0"/>
              <a:t>OEM Coatings</a:t>
            </a:r>
          </a:p>
        </p:txBody>
      </p:sp>
      <p:sp>
        <p:nvSpPr>
          <p:cNvPr id="72" name="Textplatzhalter 2">
            <a:extLst>
              <a:ext uri="{FF2B5EF4-FFF2-40B4-BE49-F238E27FC236}">
                <a16:creationId xmlns:a16="http://schemas.microsoft.com/office/drawing/2014/main" id="{875456A6-C30D-70B0-0CA6-AABBA11CEA99}"/>
              </a:ext>
            </a:extLst>
          </p:cNvPr>
          <p:cNvSpPr txBox="1">
            <a:spLocks/>
          </p:cNvSpPr>
          <p:nvPr/>
        </p:nvSpPr>
        <p:spPr>
          <a:xfrm>
            <a:off x="6256261" y="3537012"/>
            <a:ext cx="2592000" cy="1872000"/>
          </a:xfrm>
          <a:prstGeom prst="rect">
            <a:avLst/>
          </a:prstGeom>
        </p:spPr>
        <p:txBody>
          <a:bodyPr vert="horz" lIns="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indent="0">
              <a:buNone/>
            </a:pPr>
            <a:r>
              <a:rPr lang="en-US" sz="1600" b="1" dirty="0"/>
              <a:t>Automotive Refinish Coatings</a:t>
            </a:r>
          </a:p>
        </p:txBody>
      </p:sp>
      <p:grpSp>
        <p:nvGrpSpPr>
          <p:cNvPr id="73" name="Gruppieren 72">
            <a:extLst>
              <a:ext uri="{FF2B5EF4-FFF2-40B4-BE49-F238E27FC236}">
                <a16:creationId xmlns:a16="http://schemas.microsoft.com/office/drawing/2014/main" id="{D8CA318C-7B04-7108-3DCA-16D4B9D38362}"/>
              </a:ext>
            </a:extLst>
          </p:cNvPr>
          <p:cNvGrpSpPr/>
          <p:nvPr/>
        </p:nvGrpSpPr>
        <p:grpSpPr>
          <a:xfrm>
            <a:off x="3180259" y="3429000"/>
            <a:ext cx="5828686" cy="2463060"/>
            <a:chOff x="3180259" y="3573238"/>
            <a:chExt cx="5828686" cy="1980022"/>
          </a:xfrm>
        </p:grpSpPr>
        <p:cxnSp>
          <p:nvCxnSpPr>
            <p:cNvPr id="74" name="Gerader Verbinder 73">
              <a:extLst>
                <a:ext uri="{FF2B5EF4-FFF2-40B4-BE49-F238E27FC236}">
                  <a16:creationId xmlns:a16="http://schemas.microsoft.com/office/drawing/2014/main" id="{037C571B-D618-90B6-A150-D010707A0AFD}"/>
                </a:ext>
              </a:extLst>
            </p:cNvPr>
            <p:cNvCxnSpPr>
              <a:cxnSpLocks/>
            </p:cNvCxnSpPr>
            <p:nvPr/>
          </p:nvCxnSpPr>
          <p:spPr>
            <a:xfrm>
              <a:off x="3180259" y="3573238"/>
              <a:ext cx="0" cy="19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E5F6D60E-FBE1-9D27-31CB-86200DEE94B0}"/>
                </a:ext>
              </a:extLst>
            </p:cNvPr>
            <p:cNvCxnSpPr>
              <a:cxnSpLocks/>
            </p:cNvCxnSpPr>
            <p:nvPr/>
          </p:nvCxnSpPr>
          <p:spPr>
            <a:xfrm>
              <a:off x="9008945" y="3573238"/>
              <a:ext cx="0" cy="19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4AA9F13E-961D-C03B-13D9-523355262330}"/>
                </a:ext>
              </a:extLst>
            </p:cNvPr>
            <p:cNvCxnSpPr>
              <a:cxnSpLocks/>
            </p:cNvCxnSpPr>
            <p:nvPr/>
          </p:nvCxnSpPr>
          <p:spPr>
            <a:xfrm>
              <a:off x="6096627" y="3573238"/>
              <a:ext cx="0" cy="19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1" name="Rechteck 80">
            <a:extLst>
              <a:ext uri="{FF2B5EF4-FFF2-40B4-BE49-F238E27FC236}">
                <a16:creationId xmlns:a16="http://schemas.microsoft.com/office/drawing/2014/main" id="{EB2D454C-286D-E7DD-F476-A74FB8E51287}"/>
              </a:ext>
            </a:extLst>
          </p:cNvPr>
          <p:cNvSpPr/>
          <p:nvPr/>
        </p:nvSpPr>
        <p:spPr>
          <a:xfrm>
            <a:off x="219599" y="3083609"/>
            <a:ext cx="11734799" cy="360000"/>
          </a:xfrm>
          <a:prstGeom prst="rect">
            <a:avLst/>
          </a:pr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2" name="Textplatzhalter 2">
            <a:extLst>
              <a:ext uri="{FF2B5EF4-FFF2-40B4-BE49-F238E27FC236}">
                <a16:creationId xmlns:a16="http://schemas.microsoft.com/office/drawing/2014/main" id="{8D887210-34C4-5556-70F2-88904F9E8541}"/>
              </a:ext>
            </a:extLst>
          </p:cNvPr>
          <p:cNvSpPr txBox="1">
            <a:spLocks/>
          </p:cNvSpPr>
          <p:nvPr/>
        </p:nvSpPr>
        <p:spPr>
          <a:xfrm>
            <a:off x="218234" y="4166491"/>
            <a:ext cx="2736000" cy="545826"/>
          </a:xfrm>
          <a:prstGeom prst="rect">
            <a:avLst/>
          </a:prstGeom>
        </p:spPr>
        <p:txBody>
          <a:bodyPr vert="horz" lIns="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200"/>
              </a:spcBef>
              <a:buNone/>
            </a:pPr>
            <a:r>
              <a:rPr lang="en-US" sz="1200" b="1" dirty="0">
                <a:solidFill>
                  <a:srgbClr val="21A0D2"/>
                </a:solidFill>
              </a:rPr>
              <a:t>Solutions</a:t>
            </a:r>
          </a:p>
          <a:p>
            <a:pPr marL="0" lvl="0" indent="0">
              <a:spcBef>
                <a:spcPts val="200"/>
              </a:spcBef>
              <a:buNone/>
            </a:pPr>
            <a:r>
              <a:rPr lang="en-US" sz="1200" dirty="0"/>
              <a:t>Cleaners, Conversion Coatings, Sealants, Lubricants</a:t>
            </a:r>
          </a:p>
        </p:txBody>
      </p:sp>
      <p:sp>
        <p:nvSpPr>
          <p:cNvPr id="83" name="Textplatzhalter 2">
            <a:extLst>
              <a:ext uri="{FF2B5EF4-FFF2-40B4-BE49-F238E27FC236}">
                <a16:creationId xmlns:a16="http://schemas.microsoft.com/office/drawing/2014/main" id="{7922D88C-1CAE-BFC6-B4FB-1E41D5684471}"/>
              </a:ext>
            </a:extLst>
          </p:cNvPr>
          <p:cNvSpPr txBox="1">
            <a:spLocks/>
          </p:cNvSpPr>
          <p:nvPr/>
        </p:nvSpPr>
        <p:spPr>
          <a:xfrm>
            <a:off x="9148915" y="4166491"/>
            <a:ext cx="2805067" cy="545826"/>
          </a:xfrm>
          <a:prstGeom prst="rect">
            <a:avLst/>
          </a:prstGeom>
        </p:spPr>
        <p:txBody>
          <a:bodyPr vert="horz" lIns="7200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200"/>
              </a:spcBef>
              <a:buNone/>
            </a:pPr>
            <a:r>
              <a:rPr lang="en-US" sz="1200" b="1" dirty="0">
                <a:solidFill>
                  <a:srgbClr val="21A0D2"/>
                </a:solidFill>
              </a:rPr>
              <a:t>Solutions</a:t>
            </a:r>
          </a:p>
          <a:p>
            <a:pPr marL="0" lvl="0" indent="0">
              <a:spcBef>
                <a:spcPts val="200"/>
              </a:spcBef>
              <a:buNone/>
            </a:pPr>
            <a:r>
              <a:rPr lang="en-US" sz="1200" dirty="0"/>
              <a:t>Paints for Wall, Wood, Metal,</a:t>
            </a:r>
            <a:br>
              <a:rPr lang="en-US" sz="1200" dirty="0"/>
            </a:br>
            <a:r>
              <a:rPr lang="en-US" sz="1200" dirty="0"/>
              <a:t>and Specific Use</a:t>
            </a:r>
          </a:p>
        </p:txBody>
      </p:sp>
      <p:sp>
        <p:nvSpPr>
          <p:cNvPr id="84" name="Textplatzhalter 2">
            <a:extLst>
              <a:ext uri="{FF2B5EF4-FFF2-40B4-BE49-F238E27FC236}">
                <a16:creationId xmlns:a16="http://schemas.microsoft.com/office/drawing/2014/main" id="{7C7778CF-0585-E407-1400-2AE5C8062BF3}"/>
              </a:ext>
            </a:extLst>
          </p:cNvPr>
          <p:cNvSpPr txBox="1">
            <a:spLocks/>
          </p:cNvSpPr>
          <p:nvPr/>
        </p:nvSpPr>
        <p:spPr>
          <a:xfrm>
            <a:off x="3239970" y="4166491"/>
            <a:ext cx="2845664" cy="545826"/>
          </a:xfrm>
          <a:prstGeom prst="rect">
            <a:avLst/>
          </a:prstGeom>
        </p:spPr>
        <p:txBody>
          <a:bodyPr vert="horz" lIns="7200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200"/>
              </a:spcBef>
              <a:buNone/>
            </a:pPr>
            <a:r>
              <a:rPr lang="en-US" sz="1200" b="1" dirty="0">
                <a:solidFill>
                  <a:srgbClr val="21A0D2"/>
                </a:solidFill>
              </a:rPr>
              <a:t>Solutions</a:t>
            </a:r>
          </a:p>
          <a:p>
            <a:pPr marL="0" lvl="0" indent="0">
              <a:spcBef>
                <a:spcPts val="200"/>
              </a:spcBef>
              <a:buNone/>
            </a:pPr>
            <a:r>
              <a:rPr lang="en-US" sz="1200" dirty="0"/>
              <a:t>Full-layer provider for light vehicles,</a:t>
            </a:r>
            <a:br>
              <a:rPr lang="en-US" sz="1200" dirty="0"/>
            </a:br>
            <a:r>
              <a:rPr lang="en-US" sz="1200" dirty="0"/>
              <a:t>problem solver for OEMs</a:t>
            </a:r>
          </a:p>
        </p:txBody>
      </p:sp>
      <p:sp>
        <p:nvSpPr>
          <p:cNvPr id="85" name="Textplatzhalter 2">
            <a:extLst>
              <a:ext uri="{FF2B5EF4-FFF2-40B4-BE49-F238E27FC236}">
                <a16:creationId xmlns:a16="http://schemas.microsoft.com/office/drawing/2014/main" id="{82D3117C-0253-AAAB-6DE1-1678DEB2E07C}"/>
              </a:ext>
            </a:extLst>
          </p:cNvPr>
          <p:cNvSpPr txBox="1">
            <a:spLocks/>
          </p:cNvSpPr>
          <p:nvPr/>
        </p:nvSpPr>
        <p:spPr>
          <a:xfrm>
            <a:off x="6187582" y="4166491"/>
            <a:ext cx="2809649" cy="545826"/>
          </a:xfrm>
          <a:prstGeom prst="rect">
            <a:avLst/>
          </a:prstGeom>
        </p:spPr>
        <p:txBody>
          <a:bodyPr vert="horz" lIns="72000" tIns="0" rIns="0" bIns="0" rtlCol="0" anchor="t">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200"/>
              </a:spcBef>
              <a:buNone/>
            </a:pPr>
            <a:r>
              <a:rPr lang="en-US" sz="1200" b="1" dirty="0">
                <a:solidFill>
                  <a:srgbClr val="21A0D2"/>
                </a:solidFill>
              </a:rPr>
              <a:t>Solutions</a:t>
            </a:r>
          </a:p>
          <a:p>
            <a:pPr marL="0" lvl="0" indent="0">
              <a:spcBef>
                <a:spcPts val="200"/>
              </a:spcBef>
              <a:buNone/>
            </a:pPr>
            <a:r>
              <a:rPr lang="en-US" sz="1200" dirty="0"/>
              <a:t>Full-layer provider for sustainable refinish coatings</a:t>
            </a:r>
          </a:p>
        </p:txBody>
      </p:sp>
      <p:sp>
        <p:nvSpPr>
          <p:cNvPr id="86" name="TextBox 60">
            <a:extLst>
              <a:ext uri="{FF2B5EF4-FFF2-40B4-BE49-F238E27FC236}">
                <a16:creationId xmlns:a16="http://schemas.microsoft.com/office/drawing/2014/main" id="{BA69984F-1CA7-0604-F647-0647BCE8F467}"/>
              </a:ext>
            </a:extLst>
          </p:cNvPr>
          <p:cNvSpPr txBox="1"/>
          <p:nvPr/>
        </p:nvSpPr>
        <p:spPr>
          <a:xfrm>
            <a:off x="1693226" y="4968376"/>
            <a:ext cx="1475653" cy="153888"/>
          </a:xfrm>
          <a:prstGeom prst="rect">
            <a:avLst/>
          </a:prstGeom>
          <a:noFill/>
        </p:spPr>
        <p:txBody>
          <a:bodyPr wrap="square" lIns="108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Customers</a:t>
            </a:r>
          </a:p>
        </p:txBody>
      </p:sp>
      <p:sp>
        <p:nvSpPr>
          <p:cNvPr id="87" name="Rechteck 86">
            <a:extLst>
              <a:ext uri="{FF2B5EF4-FFF2-40B4-BE49-F238E27FC236}">
                <a16:creationId xmlns:a16="http://schemas.microsoft.com/office/drawing/2014/main" id="{D15C2A7B-9CCB-1713-AC62-56EA1F63B6DD}"/>
              </a:ext>
            </a:extLst>
          </p:cNvPr>
          <p:cNvSpPr/>
          <p:nvPr/>
        </p:nvSpPr>
        <p:spPr>
          <a:xfrm>
            <a:off x="1692886" y="5131204"/>
            <a:ext cx="1475995" cy="45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4A96"/>
                </a:solidFill>
                <a:effectLst/>
                <a:uLnTx/>
                <a:uFillTx/>
                <a:latin typeface="Arial" panose="020B0604020202020204"/>
                <a:cs typeface="Arial"/>
              </a:rPr>
              <a:t>&gt;</a:t>
            </a:r>
            <a:r>
              <a:rPr kumimoji="0" lang="en-US" sz="2800" b="1" i="0" u="none" strike="noStrike" kern="1200" cap="none" spc="0" normalizeH="0" baseline="0" noProof="0" dirty="0">
                <a:ln>
                  <a:noFill/>
                </a:ln>
                <a:solidFill>
                  <a:srgbClr val="004A96"/>
                </a:solidFill>
                <a:effectLst/>
                <a:uLnTx/>
                <a:uFillTx/>
                <a:latin typeface="Arial" panose="020B0604020202020204"/>
                <a:cs typeface="Arial"/>
              </a:rPr>
              <a:t>22,000</a:t>
            </a:r>
          </a:p>
        </p:txBody>
      </p:sp>
      <p:sp>
        <p:nvSpPr>
          <p:cNvPr id="88" name="Rechteck 87">
            <a:extLst>
              <a:ext uri="{FF2B5EF4-FFF2-40B4-BE49-F238E27FC236}">
                <a16:creationId xmlns:a16="http://schemas.microsoft.com/office/drawing/2014/main" id="{9FCD2805-52CD-F5E6-5AEE-28BDE89AACD5}"/>
              </a:ext>
            </a:extLst>
          </p:cNvPr>
          <p:cNvSpPr/>
          <p:nvPr/>
        </p:nvSpPr>
        <p:spPr>
          <a:xfrm>
            <a:off x="155340" y="5181418"/>
            <a:ext cx="1368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4A96"/>
                </a:solidFill>
                <a:effectLst/>
                <a:uLnTx/>
                <a:uFillTx/>
                <a:latin typeface="Arial" panose="020B0604020202020204"/>
                <a:cs typeface="Arial"/>
              </a:rPr>
              <a:t>Auto OEM &amp; Comp.</a:t>
            </a:r>
          </a:p>
        </p:txBody>
      </p:sp>
      <p:sp>
        <p:nvSpPr>
          <p:cNvPr id="89" name="TextBox 60">
            <a:extLst>
              <a:ext uri="{FF2B5EF4-FFF2-40B4-BE49-F238E27FC236}">
                <a16:creationId xmlns:a16="http://schemas.microsoft.com/office/drawing/2014/main" id="{EAE86AE0-43C0-A262-F3DE-35A33E823A3B}"/>
              </a:ext>
            </a:extLst>
          </p:cNvPr>
          <p:cNvSpPr txBox="1"/>
          <p:nvPr/>
        </p:nvSpPr>
        <p:spPr>
          <a:xfrm>
            <a:off x="230231" y="4968376"/>
            <a:ext cx="1296000" cy="153888"/>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Markets</a:t>
            </a:r>
          </a:p>
        </p:txBody>
      </p:sp>
      <p:sp>
        <p:nvSpPr>
          <p:cNvPr id="90" name="Rechteck 89">
            <a:extLst>
              <a:ext uri="{FF2B5EF4-FFF2-40B4-BE49-F238E27FC236}">
                <a16:creationId xmlns:a16="http://schemas.microsoft.com/office/drawing/2014/main" id="{005E987A-7F3E-E591-35AA-5903BED90995}"/>
              </a:ext>
            </a:extLst>
          </p:cNvPr>
          <p:cNvSpPr/>
          <p:nvPr/>
        </p:nvSpPr>
        <p:spPr>
          <a:xfrm>
            <a:off x="155340" y="5426000"/>
            <a:ext cx="1368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4A96"/>
                </a:solidFill>
                <a:effectLst/>
                <a:uLnTx/>
                <a:uFillTx/>
                <a:latin typeface="Arial" panose="020B0604020202020204"/>
                <a:cs typeface="Arial"/>
              </a:rPr>
              <a:t>General Industry</a:t>
            </a:r>
          </a:p>
        </p:txBody>
      </p:sp>
      <p:sp>
        <p:nvSpPr>
          <p:cNvPr id="91" name="Rechteck 90">
            <a:extLst>
              <a:ext uri="{FF2B5EF4-FFF2-40B4-BE49-F238E27FC236}">
                <a16:creationId xmlns:a16="http://schemas.microsoft.com/office/drawing/2014/main" id="{F5C2580B-5B98-E440-C3E9-5781B904EC2E}"/>
              </a:ext>
            </a:extLst>
          </p:cNvPr>
          <p:cNvSpPr/>
          <p:nvPr/>
        </p:nvSpPr>
        <p:spPr>
          <a:xfrm>
            <a:off x="155340" y="5670582"/>
            <a:ext cx="1368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4A96"/>
                </a:solidFill>
                <a:effectLst/>
                <a:uLnTx/>
                <a:uFillTx/>
                <a:latin typeface="Arial" panose="020B0604020202020204"/>
                <a:cs typeface="Arial"/>
              </a:rPr>
              <a:t>Aero</a:t>
            </a:r>
          </a:p>
        </p:txBody>
      </p:sp>
      <p:cxnSp>
        <p:nvCxnSpPr>
          <p:cNvPr id="92" name="Gerader Verbinder 91">
            <a:extLst>
              <a:ext uri="{FF2B5EF4-FFF2-40B4-BE49-F238E27FC236}">
                <a16:creationId xmlns:a16="http://schemas.microsoft.com/office/drawing/2014/main" id="{E5E8D4D0-F558-BE73-CF81-639EBEA53013}"/>
              </a:ext>
            </a:extLst>
          </p:cNvPr>
          <p:cNvCxnSpPr>
            <a:cxnSpLocks/>
          </p:cNvCxnSpPr>
          <p:nvPr/>
        </p:nvCxnSpPr>
        <p:spPr>
          <a:xfrm flipH="1">
            <a:off x="1692886" y="4977236"/>
            <a:ext cx="340" cy="57583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3" name="TextBox 60">
            <a:extLst>
              <a:ext uri="{FF2B5EF4-FFF2-40B4-BE49-F238E27FC236}">
                <a16:creationId xmlns:a16="http://schemas.microsoft.com/office/drawing/2014/main" id="{5D27666E-49D0-3D31-B57D-167925CA220E}"/>
              </a:ext>
            </a:extLst>
          </p:cNvPr>
          <p:cNvSpPr txBox="1"/>
          <p:nvPr/>
        </p:nvSpPr>
        <p:spPr>
          <a:xfrm>
            <a:off x="4626395" y="4968376"/>
            <a:ext cx="1458408" cy="153888"/>
          </a:xfrm>
          <a:prstGeom prst="rect">
            <a:avLst/>
          </a:prstGeom>
          <a:noFill/>
        </p:spPr>
        <p:txBody>
          <a:bodyPr wrap="square" lIns="108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Customers</a:t>
            </a:r>
          </a:p>
        </p:txBody>
      </p:sp>
      <p:sp>
        <p:nvSpPr>
          <p:cNvPr id="94" name="Rechteck 93">
            <a:extLst>
              <a:ext uri="{FF2B5EF4-FFF2-40B4-BE49-F238E27FC236}">
                <a16:creationId xmlns:a16="http://schemas.microsoft.com/office/drawing/2014/main" id="{EC7EAD40-6D47-1FCD-24AF-5950211ACD3B}"/>
              </a:ext>
            </a:extLst>
          </p:cNvPr>
          <p:cNvSpPr/>
          <p:nvPr/>
        </p:nvSpPr>
        <p:spPr>
          <a:xfrm>
            <a:off x="4653448" y="4967579"/>
            <a:ext cx="1257317" cy="776149"/>
          </a:xfrm>
          <a:prstGeom prst="rect">
            <a:avLst/>
          </a:prstGeom>
          <a:ln>
            <a:noFill/>
          </a:ln>
        </p:spPr>
        <p:style>
          <a:lnRef idx="1">
            <a:schemeClr val="accent1"/>
          </a:lnRef>
          <a:fillRef idx="0">
            <a:schemeClr val="accent1"/>
          </a:fillRef>
          <a:effectRef idx="0">
            <a:schemeClr val="accent1"/>
          </a:effectRef>
          <a:fontRef idx="minor">
            <a:schemeClr val="tx1"/>
          </a:fontRef>
        </p:style>
        <p:txBody>
          <a:bodyPr wrap="none" lIns="108000" tIns="0" rIns="0" bIns="0" rtlCol="0" anchor="b" anchorCtr="0"/>
          <a:lstStyle/>
          <a:p>
            <a:pPr>
              <a:defRPr/>
            </a:pPr>
            <a:r>
              <a:rPr lang="en-US" sz="1050" dirty="0">
                <a:solidFill>
                  <a:srgbClr val="004A96"/>
                </a:solidFill>
                <a:latin typeface="Arial" panose="020B0604020202020204"/>
                <a:cs typeface="Arial"/>
              </a:rPr>
              <a:t>all top </a:t>
            </a:r>
            <a:r>
              <a:rPr lang="en-US" sz="2800" b="1" dirty="0">
                <a:solidFill>
                  <a:srgbClr val="004A96"/>
                </a:solidFill>
                <a:latin typeface="Arial" panose="020B0604020202020204"/>
                <a:cs typeface="Arial"/>
              </a:rPr>
              <a:t>15</a:t>
            </a:r>
            <a:r>
              <a:rPr lang="de-DE" sz="2800" b="1" dirty="0">
                <a:solidFill>
                  <a:srgbClr val="004A96"/>
                </a:solidFill>
                <a:latin typeface="Arial" panose="020B0604020202020204"/>
                <a:cs typeface="Arial"/>
              </a:rPr>
              <a:t> </a:t>
            </a:r>
            <a:br>
              <a:rPr lang="de-DE" sz="2800" b="1" dirty="0">
                <a:solidFill>
                  <a:srgbClr val="004A96"/>
                </a:solidFill>
                <a:latin typeface="Arial" panose="020B0604020202020204"/>
                <a:cs typeface="Arial"/>
              </a:rPr>
            </a:br>
            <a:r>
              <a:rPr lang="en-US" sz="1050" dirty="0">
                <a:solidFill>
                  <a:srgbClr val="004A96"/>
                </a:solidFill>
                <a:latin typeface="Arial" panose="020B0604020202020204"/>
                <a:cs typeface="Arial"/>
              </a:rPr>
              <a:t>OEM customers</a:t>
            </a:r>
            <a:endParaRPr lang="de-DE" sz="1050" dirty="0">
              <a:solidFill>
                <a:srgbClr val="004A96"/>
              </a:solidFill>
              <a:latin typeface="Arial" panose="020B0604020202020204"/>
              <a:cs typeface="Arial"/>
            </a:endParaRPr>
          </a:p>
        </p:txBody>
      </p:sp>
      <p:sp>
        <p:nvSpPr>
          <p:cNvPr id="95" name="TextBox 60">
            <a:extLst>
              <a:ext uri="{FF2B5EF4-FFF2-40B4-BE49-F238E27FC236}">
                <a16:creationId xmlns:a16="http://schemas.microsoft.com/office/drawing/2014/main" id="{5C3967FE-D732-BED3-7BA0-64CB825EB310}"/>
              </a:ext>
            </a:extLst>
          </p:cNvPr>
          <p:cNvSpPr txBox="1"/>
          <p:nvPr/>
        </p:nvSpPr>
        <p:spPr>
          <a:xfrm>
            <a:off x="3260319" y="4968376"/>
            <a:ext cx="1493516" cy="153888"/>
          </a:xfrm>
          <a:prstGeom prst="rect">
            <a:avLst/>
          </a:prstGeom>
          <a:noFill/>
        </p:spPr>
        <p:txBody>
          <a:bodyPr wrap="square" lIns="72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Market</a:t>
            </a:r>
          </a:p>
        </p:txBody>
      </p:sp>
      <p:sp>
        <p:nvSpPr>
          <p:cNvPr id="96" name="Rechteck 95">
            <a:extLst>
              <a:ext uri="{FF2B5EF4-FFF2-40B4-BE49-F238E27FC236}">
                <a16:creationId xmlns:a16="http://schemas.microsoft.com/office/drawing/2014/main" id="{F3F56841-7E0E-9B17-F0AB-40BFFBFD0129}"/>
              </a:ext>
            </a:extLst>
          </p:cNvPr>
          <p:cNvSpPr/>
          <p:nvPr/>
        </p:nvSpPr>
        <p:spPr>
          <a:xfrm>
            <a:off x="3251684" y="5181418"/>
            <a:ext cx="1260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4A96"/>
                </a:solidFill>
                <a:effectLst/>
                <a:uLnTx/>
                <a:uFillTx/>
                <a:latin typeface="Arial" panose="020B0604020202020204"/>
                <a:cs typeface="Arial"/>
              </a:rPr>
              <a:t>Auto OEM</a:t>
            </a:r>
          </a:p>
        </p:txBody>
      </p:sp>
      <p:sp>
        <p:nvSpPr>
          <p:cNvPr id="97" name="TextBox 60">
            <a:extLst>
              <a:ext uri="{FF2B5EF4-FFF2-40B4-BE49-F238E27FC236}">
                <a16:creationId xmlns:a16="http://schemas.microsoft.com/office/drawing/2014/main" id="{9F93A578-35CF-0DA2-F711-D58EE78BAD18}"/>
              </a:ext>
            </a:extLst>
          </p:cNvPr>
          <p:cNvSpPr txBox="1"/>
          <p:nvPr/>
        </p:nvSpPr>
        <p:spPr>
          <a:xfrm>
            <a:off x="7539164" y="4968376"/>
            <a:ext cx="1458408" cy="153888"/>
          </a:xfrm>
          <a:prstGeom prst="rect">
            <a:avLst/>
          </a:prstGeom>
          <a:noFill/>
        </p:spPr>
        <p:txBody>
          <a:bodyPr wrap="square" lIns="108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Customers</a:t>
            </a:r>
          </a:p>
        </p:txBody>
      </p:sp>
      <p:sp>
        <p:nvSpPr>
          <p:cNvPr id="98" name="Rechteck 97">
            <a:extLst>
              <a:ext uri="{FF2B5EF4-FFF2-40B4-BE49-F238E27FC236}">
                <a16:creationId xmlns:a16="http://schemas.microsoft.com/office/drawing/2014/main" id="{3C6CAF50-B492-A2FB-0634-B5C4A19E42B2}"/>
              </a:ext>
            </a:extLst>
          </p:cNvPr>
          <p:cNvSpPr/>
          <p:nvPr/>
        </p:nvSpPr>
        <p:spPr>
          <a:xfrm>
            <a:off x="7539164" y="5131204"/>
            <a:ext cx="1458746" cy="45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4A96"/>
                </a:solidFill>
                <a:effectLst/>
                <a:uLnTx/>
                <a:uFillTx/>
                <a:latin typeface="Arial" panose="020B0604020202020204"/>
                <a:cs typeface="Arial"/>
              </a:rPr>
              <a:t>&gt;</a:t>
            </a:r>
            <a:r>
              <a:rPr kumimoji="0" lang="en-US" sz="2800" b="1" i="0" u="none" strike="noStrike" kern="1200" cap="none" spc="0" normalizeH="0" baseline="0" noProof="0" dirty="0">
                <a:ln>
                  <a:noFill/>
                </a:ln>
                <a:solidFill>
                  <a:srgbClr val="004A96"/>
                </a:solidFill>
                <a:effectLst/>
                <a:uLnTx/>
                <a:uFillTx/>
                <a:latin typeface="Arial" panose="020B0604020202020204"/>
                <a:cs typeface="Arial"/>
              </a:rPr>
              <a:t>25,000</a:t>
            </a:r>
          </a:p>
        </p:txBody>
      </p:sp>
      <p:sp>
        <p:nvSpPr>
          <p:cNvPr id="99" name="TextBox 60">
            <a:extLst>
              <a:ext uri="{FF2B5EF4-FFF2-40B4-BE49-F238E27FC236}">
                <a16:creationId xmlns:a16="http://schemas.microsoft.com/office/drawing/2014/main" id="{A58575EC-83CD-0ACC-9152-21AC38593B95}"/>
              </a:ext>
            </a:extLst>
          </p:cNvPr>
          <p:cNvSpPr txBox="1"/>
          <p:nvPr/>
        </p:nvSpPr>
        <p:spPr>
          <a:xfrm>
            <a:off x="6207378" y="4968376"/>
            <a:ext cx="1493516" cy="153888"/>
          </a:xfrm>
          <a:prstGeom prst="rect">
            <a:avLst/>
          </a:prstGeom>
          <a:noFill/>
        </p:spPr>
        <p:txBody>
          <a:bodyPr wrap="square" lIns="72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Market</a:t>
            </a:r>
          </a:p>
        </p:txBody>
      </p:sp>
      <p:sp>
        <p:nvSpPr>
          <p:cNvPr id="100" name="Rechteck 99">
            <a:extLst>
              <a:ext uri="{FF2B5EF4-FFF2-40B4-BE49-F238E27FC236}">
                <a16:creationId xmlns:a16="http://schemas.microsoft.com/office/drawing/2014/main" id="{F7CC241F-70C4-C1B7-61DF-7BBEC4CB6209}"/>
              </a:ext>
            </a:extLst>
          </p:cNvPr>
          <p:cNvSpPr/>
          <p:nvPr/>
        </p:nvSpPr>
        <p:spPr>
          <a:xfrm>
            <a:off x="6204012" y="5181418"/>
            <a:ext cx="1188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4A96"/>
                </a:solidFill>
                <a:effectLst/>
                <a:uLnTx/>
                <a:uFillTx/>
                <a:latin typeface="Arial" panose="020B0604020202020204"/>
                <a:cs typeface="Arial"/>
              </a:rPr>
              <a:t>Auto Refinish</a:t>
            </a:r>
          </a:p>
        </p:txBody>
      </p:sp>
      <p:sp>
        <p:nvSpPr>
          <p:cNvPr id="101" name="TextBox 60">
            <a:extLst>
              <a:ext uri="{FF2B5EF4-FFF2-40B4-BE49-F238E27FC236}">
                <a16:creationId xmlns:a16="http://schemas.microsoft.com/office/drawing/2014/main" id="{F096CAC0-D870-44AF-FBDB-D16D1C5F9271}"/>
              </a:ext>
            </a:extLst>
          </p:cNvPr>
          <p:cNvSpPr txBox="1"/>
          <p:nvPr/>
        </p:nvSpPr>
        <p:spPr>
          <a:xfrm>
            <a:off x="10533519" y="4968376"/>
            <a:ext cx="1476606" cy="153888"/>
          </a:xfrm>
          <a:prstGeom prst="rect">
            <a:avLst/>
          </a:prstGeom>
          <a:noFill/>
        </p:spPr>
        <p:txBody>
          <a:bodyPr wrap="square" lIns="108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Customers</a:t>
            </a:r>
          </a:p>
        </p:txBody>
      </p:sp>
      <p:sp>
        <p:nvSpPr>
          <p:cNvPr id="102" name="Rechteck 101">
            <a:extLst>
              <a:ext uri="{FF2B5EF4-FFF2-40B4-BE49-F238E27FC236}">
                <a16:creationId xmlns:a16="http://schemas.microsoft.com/office/drawing/2014/main" id="{40660D76-1A9C-7D88-2F4B-418A3725538C}"/>
              </a:ext>
            </a:extLst>
          </p:cNvPr>
          <p:cNvSpPr/>
          <p:nvPr/>
        </p:nvSpPr>
        <p:spPr>
          <a:xfrm>
            <a:off x="10533515" y="5131204"/>
            <a:ext cx="1476948" cy="45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004A96"/>
                </a:solidFill>
                <a:latin typeface="Arial" panose="020B0604020202020204"/>
                <a:cs typeface="Arial"/>
              </a:rPr>
              <a:t>2</a:t>
            </a:r>
            <a:r>
              <a:rPr kumimoji="0" lang="en-US" sz="2800" b="1" i="0" u="none" strike="noStrike" kern="1200" cap="none" spc="0" normalizeH="0" baseline="0" noProof="0" dirty="0">
                <a:ln>
                  <a:noFill/>
                </a:ln>
                <a:solidFill>
                  <a:srgbClr val="004A96"/>
                </a:solidFill>
                <a:effectLst/>
                <a:uLnTx/>
                <a:uFillTx/>
                <a:latin typeface="Arial" panose="020B0604020202020204"/>
                <a:cs typeface="Arial"/>
              </a:rPr>
              <a:t>,000</a:t>
            </a:r>
          </a:p>
        </p:txBody>
      </p:sp>
      <p:sp>
        <p:nvSpPr>
          <p:cNvPr id="103" name="TextBox 60">
            <a:extLst>
              <a:ext uri="{FF2B5EF4-FFF2-40B4-BE49-F238E27FC236}">
                <a16:creationId xmlns:a16="http://schemas.microsoft.com/office/drawing/2014/main" id="{A804C77B-0FD5-70B9-5EC6-B8CA989F9DA3}"/>
              </a:ext>
            </a:extLst>
          </p:cNvPr>
          <p:cNvSpPr txBox="1"/>
          <p:nvPr/>
        </p:nvSpPr>
        <p:spPr>
          <a:xfrm>
            <a:off x="9127019" y="4968376"/>
            <a:ext cx="1493516" cy="153888"/>
          </a:xfrm>
          <a:prstGeom prst="rect">
            <a:avLst/>
          </a:prstGeom>
          <a:noFill/>
        </p:spPr>
        <p:txBody>
          <a:bodyPr wrap="square" lIns="7200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a:cs typeface="Arial"/>
              </a:rPr>
              <a:t>Market</a:t>
            </a:r>
          </a:p>
        </p:txBody>
      </p:sp>
      <p:sp>
        <p:nvSpPr>
          <p:cNvPr id="104" name="Rechteck 103">
            <a:extLst>
              <a:ext uri="{FF2B5EF4-FFF2-40B4-BE49-F238E27FC236}">
                <a16:creationId xmlns:a16="http://schemas.microsoft.com/office/drawing/2014/main" id="{50024CB1-6DDB-9FC4-142B-1D607117E68D}"/>
              </a:ext>
            </a:extLst>
          </p:cNvPr>
          <p:cNvSpPr/>
          <p:nvPr/>
        </p:nvSpPr>
        <p:spPr>
          <a:xfrm>
            <a:off x="9123653" y="5181418"/>
            <a:ext cx="1224000" cy="2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4A96"/>
                </a:solidFill>
                <a:effectLst/>
                <a:uLnTx/>
                <a:uFillTx/>
                <a:latin typeface="Arial" panose="020B0604020202020204"/>
                <a:cs typeface="Arial"/>
              </a:rPr>
              <a:t>Decorative</a:t>
            </a:r>
          </a:p>
        </p:txBody>
      </p:sp>
      <p:sp>
        <p:nvSpPr>
          <p:cNvPr id="105" name="Textplatzhalter 2">
            <a:extLst>
              <a:ext uri="{FF2B5EF4-FFF2-40B4-BE49-F238E27FC236}">
                <a16:creationId xmlns:a16="http://schemas.microsoft.com/office/drawing/2014/main" id="{05378FC1-8AA3-0C65-CF8F-5279907CFFE6}"/>
              </a:ext>
            </a:extLst>
          </p:cNvPr>
          <p:cNvSpPr txBox="1">
            <a:spLocks/>
          </p:cNvSpPr>
          <p:nvPr/>
        </p:nvSpPr>
        <p:spPr>
          <a:xfrm>
            <a:off x="218347" y="3083609"/>
            <a:ext cx="2736000" cy="360000"/>
          </a:xfrm>
          <a:prstGeom prst="rect">
            <a:avLst/>
          </a:prstGeom>
        </p:spPr>
        <p:txBody>
          <a:bodyPr vert="horz" lIns="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lgn="ctr">
              <a:spcBef>
                <a:spcPts val="200"/>
              </a:spcBef>
              <a:buNone/>
            </a:pPr>
            <a:r>
              <a:rPr lang="en-US" sz="1200" b="1" dirty="0">
                <a:solidFill>
                  <a:schemeClr val="bg1"/>
                </a:solidFill>
              </a:rPr>
              <a:t>#</a:t>
            </a:r>
            <a:r>
              <a:rPr lang="en-US" sz="400" b="1" dirty="0">
                <a:solidFill>
                  <a:schemeClr val="bg1"/>
                </a:solidFill>
              </a:rPr>
              <a:t> </a:t>
            </a:r>
            <a:r>
              <a:rPr lang="en-US" sz="1400" b="1" dirty="0">
                <a:solidFill>
                  <a:schemeClr val="bg1"/>
                </a:solidFill>
              </a:rPr>
              <a:t>2 globally</a:t>
            </a:r>
            <a:endParaRPr lang="en-US" sz="1400" dirty="0">
              <a:solidFill>
                <a:schemeClr val="bg1"/>
              </a:solidFill>
            </a:endParaRPr>
          </a:p>
        </p:txBody>
      </p:sp>
      <p:sp>
        <p:nvSpPr>
          <p:cNvPr id="106" name="Textplatzhalter 2">
            <a:extLst>
              <a:ext uri="{FF2B5EF4-FFF2-40B4-BE49-F238E27FC236}">
                <a16:creationId xmlns:a16="http://schemas.microsoft.com/office/drawing/2014/main" id="{0AF738B0-D865-12CB-0D20-8DCA500624BB}"/>
              </a:ext>
            </a:extLst>
          </p:cNvPr>
          <p:cNvSpPr txBox="1">
            <a:spLocks/>
          </p:cNvSpPr>
          <p:nvPr/>
        </p:nvSpPr>
        <p:spPr>
          <a:xfrm>
            <a:off x="8997344" y="3083609"/>
            <a:ext cx="2956751" cy="360000"/>
          </a:xfrm>
          <a:prstGeom prst="rect">
            <a:avLst/>
          </a:prstGeom>
        </p:spPr>
        <p:txBody>
          <a:bodyPr vert="horz" lIns="7200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cs typeface="Arial"/>
              </a:rPr>
              <a:t>#</a:t>
            </a:r>
            <a:r>
              <a:rPr kumimoji="0" lang="en-US" sz="400" b="1" i="0" u="none" strike="noStrike" kern="1200" cap="none" spc="0" normalizeH="0" baseline="0" noProof="0" dirty="0">
                <a:ln>
                  <a:noFill/>
                </a:ln>
                <a:solidFill>
                  <a:srgbClr val="FFFFFF"/>
                </a:solidFill>
                <a:effectLst/>
                <a:uLnTx/>
                <a:uFillTx/>
                <a:latin typeface="Arial" panose="020B0604020202020204"/>
                <a:cs typeface="Arial"/>
              </a:rPr>
              <a:t> </a:t>
            </a:r>
            <a:r>
              <a:rPr kumimoji="0" lang="en-US" sz="1400" b="1" i="0" u="none" strike="noStrike" kern="1200" cap="none" spc="0" normalizeH="0" baseline="0" noProof="0" dirty="0">
                <a:ln>
                  <a:noFill/>
                </a:ln>
                <a:solidFill>
                  <a:srgbClr val="FFFFFF"/>
                </a:solidFill>
                <a:effectLst/>
                <a:uLnTx/>
                <a:uFillTx/>
                <a:latin typeface="Arial" panose="020B0604020202020204"/>
                <a:cs typeface="Arial"/>
              </a:rPr>
              <a:t>1 in Brazil</a:t>
            </a: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07" name="Textplatzhalter 2">
            <a:extLst>
              <a:ext uri="{FF2B5EF4-FFF2-40B4-BE49-F238E27FC236}">
                <a16:creationId xmlns:a16="http://schemas.microsoft.com/office/drawing/2014/main" id="{69EDACFD-0897-CD72-03F9-168AB9FC4EB9}"/>
              </a:ext>
            </a:extLst>
          </p:cNvPr>
          <p:cNvSpPr txBox="1">
            <a:spLocks/>
          </p:cNvSpPr>
          <p:nvPr/>
        </p:nvSpPr>
        <p:spPr>
          <a:xfrm>
            <a:off x="3169661" y="3083609"/>
            <a:ext cx="2916086" cy="360000"/>
          </a:xfrm>
          <a:prstGeom prst="rect">
            <a:avLst/>
          </a:prstGeom>
        </p:spPr>
        <p:txBody>
          <a:bodyPr vert="horz" lIns="7200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cs typeface="Arial"/>
              </a:rPr>
              <a:t>#</a:t>
            </a:r>
            <a:r>
              <a:rPr kumimoji="0" lang="en-US" sz="400" b="1" i="0" u="none" strike="noStrike" kern="1200" cap="none" spc="0" normalizeH="0" baseline="0" noProof="0" dirty="0">
                <a:ln>
                  <a:noFill/>
                </a:ln>
                <a:solidFill>
                  <a:srgbClr val="FFFFFF"/>
                </a:solidFill>
                <a:effectLst/>
                <a:uLnTx/>
                <a:uFillTx/>
                <a:latin typeface="Arial" panose="020B0604020202020204"/>
                <a:cs typeface="Arial"/>
              </a:rPr>
              <a:t> </a:t>
            </a:r>
            <a:r>
              <a:rPr kumimoji="0" lang="en-US" sz="1400" b="1" i="0" u="none" strike="noStrike" kern="1200" cap="none" spc="0" normalizeH="0" baseline="0" noProof="0" dirty="0">
                <a:ln>
                  <a:noFill/>
                </a:ln>
                <a:solidFill>
                  <a:srgbClr val="FFFFFF"/>
                </a:solidFill>
                <a:effectLst/>
                <a:uLnTx/>
                <a:uFillTx/>
                <a:latin typeface="Arial" panose="020B0604020202020204"/>
                <a:cs typeface="Arial"/>
              </a:rPr>
              <a:t>1 globally</a:t>
            </a: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08" name="Textplatzhalter 2">
            <a:extLst>
              <a:ext uri="{FF2B5EF4-FFF2-40B4-BE49-F238E27FC236}">
                <a16:creationId xmlns:a16="http://schemas.microsoft.com/office/drawing/2014/main" id="{B80E8BE9-2EC4-93FD-3899-D43829EAFAE2}"/>
              </a:ext>
            </a:extLst>
          </p:cNvPr>
          <p:cNvSpPr txBox="1">
            <a:spLocks/>
          </p:cNvSpPr>
          <p:nvPr/>
        </p:nvSpPr>
        <p:spPr>
          <a:xfrm>
            <a:off x="6082323" y="3083609"/>
            <a:ext cx="2915021" cy="360000"/>
          </a:xfrm>
          <a:prstGeom prst="rect">
            <a:avLst/>
          </a:prstGeom>
        </p:spPr>
        <p:txBody>
          <a:bodyPr vert="horz" lIns="72000" tIns="0" rIns="0" bIns="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0463" indent="-26511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cs typeface="Arial"/>
              </a:rPr>
              <a:t>#</a:t>
            </a:r>
            <a:r>
              <a:rPr kumimoji="0" lang="en-US" sz="400" b="1" i="0" u="none" strike="noStrike" kern="1200" cap="none" spc="0" normalizeH="0" baseline="0" noProof="0" dirty="0">
                <a:ln>
                  <a:noFill/>
                </a:ln>
                <a:solidFill>
                  <a:srgbClr val="FFFFFF"/>
                </a:solidFill>
                <a:effectLst/>
                <a:uLnTx/>
                <a:uFillTx/>
                <a:latin typeface="Arial" panose="020B0604020202020204"/>
                <a:cs typeface="Arial"/>
              </a:rPr>
              <a:t> </a:t>
            </a:r>
            <a:r>
              <a:rPr kumimoji="0" lang="en-US" sz="1400" b="1" i="0" u="none" strike="noStrike" kern="1200" cap="none" spc="0" normalizeH="0" baseline="0" noProof="0" dirty="0">
                <a:ln>
                  <a:noFill/>
                </a:ln>
                <a:solidFill>
                  <a:srgbClr val="FFFFFF"/>
                </a:solidFill>
                <a:effectLst/>
                <a:uLnTx/>
                <a:uFillTx/>
                <a:latin typeface="Arial" panose="020B0604020202020204"/>
                <a:cs typeface="Arial"/>
              </a:rPr>
              <a:t>3 globally</a:t>
            </a: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cxnSp>
        <p:nvCxnSpPr>
          <p:cNvPr id="109" name="Gerader Verbinder 108">
            <a:extLst>
              <a:ext uri="{FF2B5EF4-FFF2-40B4-BE49-F238E27FC236}">
                <a16:creationId xmlns:a16="http://schemas.microsoft.com/office/drawing/2014/main" id="{292D540C-337A-2EE7-F63B-981F1CF01E5C}"/>
              </a:ext>
            </a:extLst>
          </p:cNvPr>
          <p:cNvCxnSpPr>
            <a:cxnSpLocks/>
          </p:cNvCxnSpPr>
          <p:nvPr/>
        </p:nvCxnSpPr>
        <p:spPr>
          <a:xfrm>
            <a:off x="4637429" y="4953345"/>
            <a:ext cx="0" cy="576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F9493E91-27F4-920C-F7E5-CE04A5B25181}"/>
              </a:ext>
            </a:extLst>
          </p:cNvPr>
          <p:cNvCxnSpPr>
            <a:cxnSpLocks/>
          </p:cNvCxnSpPr>
          <p:nvPr/>
        </p:nvCxnSpPr>
        <p:spPr>
          <a:xfrm>
            <a:off x="7539164" y="4977236"/>
            <a:ext cx="0" cy="576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2389922B-C50E-2152-2A93-C6CB24F0CE98}"/>
              </a:ext>
            </a:extLst>
          </p:cNvPr>
          <p:cNvCxnSpPr>
            <a:cxnSpLocks/>
          </p:cNvCxnSpPr>
          <p:nvPr/>
        </p:nvCxnSpPr>
        <p:spPr>
          <a:xfrm>
            <a:off x="10533515" y="4977236"/>
            <a:ext cx="0" cy="576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77" name="Gruppieren 76">
            <a:extLst>
              <a:ext uri="{FF2B5EF4-FFF2-40B4-BE49-F238E27FC236}">
                <a16:creationId xmlns:a16="http://schemas.microsoft.com/office/drawing/2014/main" id="{38EE1398-6956-7F79-0C92-5B7CA0C225B7}"/>
              </a:ext>
            </a:extLst>
          </p:cNvPr>
          <p:cNvGrpSpPr/>
          <p:nvPr/>
        </p:nvGrpSpPr>
        <p:grpSpPr>
          <a:xfrm>
            <a:off x="3180259" y="1773239"/>
            <a:ext cx="5828686" cy="1655761"/>
            <a:chOff x="3180259" y="1773239"/>
            <a:chExt cx="5828686" cy="1800000"/>
          </a:xfrm>
        </p:grpSpPr>
        <p:cxnSp>
          <p:nvCxnSpPr>
            <p:cNvPr id="78" name="Gerader Verbinder 77">
              <a:extLst>
                <a:ext uri="{FF2B5EF4-FFF2-40B4-BE49-F238E27FC236}">
                  <a16:creationId xmlns:a16="http://schemas.microsoft.com/office/drawing/2014/main" id="{D08B6027-1A2E-A4D7-0847-013BB31AE3EB}"/>
                </a:ext>
              </a:extLst>
            </p:cNvPr>
            <p:cNvCxnSpPr>
              <a:cxnSpLocks/>
            </p:cNvCxnSpPr>
            <p:nvPr/>
          </p:nvCxnSpPr>
          <p:spPr>
            <a:xfrm>
              <a:off x="3180259" y="1773239"/>
              <a:ext cx="0" cy="180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52B47813-8E25-0833-9F6E-0B4088784C27}"/>
                </a:ext>
              </a:extLst>
            </p:cNvPr>
            <p:cNvCxnSpPr>
              <a:cxnSpLocks/>
            </p:cNvCxnSpPr>
            <p:nvPr/>
          </p:nvCxnSpPr>
          <p:spPr>
            <a:xfrm>
              <a:off x="9008945" y="1773239"/>
              <a:ext cx="0" cy="180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CE1B1AFB-DA09-B76B-8C40-77939AB986EC}"/>
                </a:ext>
              </a:extLst>
            </p:cNvPr>
            <p:cNvCxnSpPr>
              <a:cxnSpLocks/>
            </p:cNvCxnSpPr>
            <p:nvPr/>
          </p:nvCxnSpPr>
          <p:spPr>
            <a:xfrm>
              <a:off x="6094602" y="1773239"/>
              <a:ext cx="0" cy="180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824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2">
            <a:extLst>
              <a:ext uri="{FF2B5EF4-FFF2-40B4-BE49-F238E27FC236}">
                <a16:creationId xmlns:a16="http://schemas.microsoft.com/office/drawing/2014/main" id="{74E7EEEB-EDB7-02B1-1342-F941A9784D9A}"/>
              </a:ext>
            </a:extLst>
          </p:cNvPr>
          <p:cNvSpPr txBox="1">
            <a:spLocks/>
          </p:cNvSpPr>
          <p:nvPr/>
        </p:nvSpPr>
        <p:spPr>
          <a:xfrm>
            <a:off x="876948" y="4491813"/>
            <a:ext cx="1798672" cy="1224000"/>
          </a:xfrm>
          <a:prstGeom prst="rect">
            <a:avLst/>
          </a:prstGeom>
          <a:noFill/>
        </p:spPr>
        <p:txBody>
          <a:bodyPr vert="horz" lIns="0" tIns="0" rIns="0" bIns="28800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800" b="1" dirty="0"/>
              <a:t>Countries</a:t>
            </a:r>
            <a:endParaRPr lang="en-US" sz="1400" b="1" dirty="0"/>
          </a:p>
        </p:txBody>
      </p:sp>
      <p:sp>
        <p:nvSpPr>
          <p:cNvPr id="7" name="Textplatzhalter 2">
            <a:extLst>
              <a:ext uri="{FF2B5EF4-FFF2-40B4-BE49-F238E27FC236}">
                <a16:creationId xmlns:a16="http://schemas.microsoft.com/office/drawing/2014/main" id="{357A4203-5253-35AD-E1C4-28C29EFA01A1}"/>
              </a:ext>
            </a:extLst>
          </p:cNvPr>
          <p:cNvSpPr txBox="1">
            <a:spLocks/>
          </p:cNvSpPr>
          <p:nvPr/>
        </p:nvSpPr>
        <p:spPr>
          <a:xfrm>
            <a:off x="876948" y="3141104"/>
            <a:ext cx="1798672" cy="1224000"/>
          </a:xfrm>
          <a:prstGeom prst="rect">
            <a:avLst/>
          </a:prstGeom>
          <a:noFill/>
        </p:spPr>
        <p:txBody>
          <a:bodyPr vert="horz" lIns="0" tIns="0" rIns="0" bIns="28800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800" b="1" dirty="0"/>
              <a:t>Employees</a:t>
            </a:r>
          </a:p>
        </p:txBody>
      </p:sp>
      <p:sp>
        <p:nvSpPr>
          <p:cNvPr id="8" name="Textplatzhalter 2">
            <a:extLst>
              <a:ext uri="{FF2B5EF4-FFF2-40B4-BE49-F238E27FC236}">
                <a16:creationId xmlns:a16="http://schemas.microsoft.com/office/drawing/2014/main" id="{587DFCD7-1253-DE76-A7B3-C61EEA4D617C}"/>
              </a:ext>
            </a:extLst>
          </p:cNvPr>
          <p:cNvSpPr txBox="1">
            <a:spLocks/>
          </p:cNvSpPr>
          <p:nvPr/>
        </p:nvSpPr>
        <p:spPr>
          <a:xfrm>
            <a:off x="876948" y="1772815"/>
            <a:ext cx="1798672" cy="1224000"/>
          </a:xfrm>
          <a:prstGeom prst="rect">
            <a:avLst/>
          </a:prstGeom>
          <a:noFill/>
        </p:spPr>
        <p:txBody>
          <a:bodyPr vert="horz" lIns="0" tIns="0" rIns="0" bIns="288000" rtlCol="0" anchor="ctr"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800" b="1" dirty="0"/>
              <a:t>Automotive Business</a:t>
            </a:r>
          </a:p>
        </p:txBody>
      </p:sp>
      <p:sp>
        <p:nvSpPr>
          <p:cNvPr id="9" name="Textplatzhalter 2">
            <a:extLst>
              <a:ext uri="{FF2B5EF4-FFF2-40B4-BE49-F238E27FC236}">
                <a16:creationId xmlns:a16="http://schemas.microsoft.com/office/drawing/2014/main" id="{524940F4-7494-A235-B591-96DC660428EC}"/>
              </a:ext>
            </a:extLst>
          </p:cNvPr>
          <p:cNvSpPr txBox="1">
            <a:spLocks/>
          </p:cNvSpPr>
          <p:nvPr/>
        </p:nvSpPr>
        <p:spPr>
          <a:xfrm>
            <a:off x="3488018" y="4808567"/>
            <a:ext cx="1798672"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200" dirty="0"/>
              <a:t>Net Sales 2023 from</a:t>
            </a:r>
            <a:br>
              <a:rPr lang="en-US" sz="1600" b="1" dirty="0"/>
            </a:br>
            <a:r>
              <a:rPr lang="en-US" sz="1400" b="1" dirty="0"/>
              <a:t>Sustainable Solutions</a:t>
            </a:r>
          </a:p>
        </p:txBody>
      </p:sp>
      <p:sp>
        <p:nvSpPr>
          <p:cNvPr id="10" name="Textplatzhalter 2">
            <a:extLst>
              <a:ext uri="{FF2B5EF4-FFF2-40B4-BE49-F238E27FC236}">
                <a16:creationId xmlns:a16="http://schemas.microsoft.com/office/drawing/2014/main" id="{58E7AFD3-54F7-077C-2228-8D9C3A0A9936}"/>
              </a:ext>
            </a:extLst>
          </p:cNvPr>
          <p:cNvSpPr txBox="1">
            <a:spLocks/>
          </p:cNvSpPr>
          <p:nvPr/>
        </p:nvSpPr>
        <p:spPr>
          <a:xfrm>
            <a:off x="8274357" y="0"/>
            <a:ext cx="3917643" cy="6857999"/>
          </a:xfrm>
          <a:prstGeom prst="rect">
            <a:avLst/>
          </a:pr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lvl="0">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cxnSp>
        <p:nvCxnSpPr>
          <p:cNvPr id="23" name="Gerader Verbinder 22">
            <a:extLst>
              <a:ext uri="{FF2B5EF4-FFF2-40B4-BE49-F238E27FC236}">
                <a16:creationId xmlns:a16="http://schemas.microsoft.com/office/drawing/2014/main" id="{24665001-592E-C026-5AB0-C0563A88B07C}"/>
              </a:ext>
            </a:extLst>
          </p:cNvPr>
          <p:cNvCxnSpPr>
            <a:cxnSpLocks/>
          </p:cNvCxnSpPr>
          <p:nvPr/>
        </p:nvCxnSpPr>
        <p:spPr>
          <a:xfrm>
            <a:off x="2747085" y="1773214"/>
            <a:ext cx="0" cy="37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7374FB78-1CF0-3479-CBF5-1E8BD77477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96259" y="1772842"/>
            <a:ext cx="403000" cy="468000"/>
          </a:xfrm>
          <a:prstGeom prst="rect">
            <a:avLst/>
          </a:prstGeom>
        </p:spPr>
      </p:pic>
      <p:cxnSp>
        <p:nvCxnSpPr>
          <p:cNvPr id="26" name="Gerader Verbinder 25">
            <a:extLst>
              <a:ext uri="{FF2B5EF4-FFF2-40B4-BE49-F238E27FC236}">
                <a16:creationId xmlns:a16="http://schemas.microsoft.com/office/drawing/2014/main" id="{C576C1C6-0364-3FB8-F988-A615E58B2077}"/>
              </a:ext>
            </a:extLst>
          </p:cNvPr>
          <p:cNvCxnSpPr>
            <a:cxnSpLocks/>
          </p:cNvCxnSpPr>
          <p:nvPr/>
        </p:nvCxnSpPr>
        <p:spPr>
          <a:xfrm>
            <a:off x="227348" y="3186497"/>
            <a:ext cx="2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platzhalter 2">
            <a:extLst>
              <a:ext uri="{FF2B5EF4-FFF2-40B4-BE49-F238E27FC236}">
                <a16:creationId xmlns:a16="http://schemas.microsoft.com/office/drawing/2014/main" id="{3D641A31-1B51-9B71-BF0D-405F24C6EA12}"/>
              </a:ext>
            </a:extLst>
          </p:cNvPr>
          <p:cNvSpPr txBox="1">
            <a:spLocks/>
          </p:cNvSpPr>
          <p:nvPr/>
        </p:nvSpPr>
        <p:spPr>
          <a:xfrm>
            <a:off x="673012" y="5151971"/>
            <a:ext cx="1935669" cy="563842"/>
          </a:xfrm>
          <a:prstGeom prst="rect">
            <a:avLst/>
          </a:prstGeom>
        </p:spPr>
        <p:txBody>
          <a:bodyPr vert="horz" lIns="0" tIns="0" rIns="0" bIns="108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dirty="0">
                <a:ln>
                  <a:noFill/>
                </a:ln>
                <a:solidFill>
                  <a:schemeClr val="accent1"/>
                </a:solidFill>
                <a:effectLst/>
                <a:uLnTx/>
                <a:uFillTx/>
                <a:cs typeface="Arial"/>
              </a:rPr>
              <a:t>49</a:t>
            </a:r>
            <a:endParaRPr kumimoji="0" lang="en-US" sz="2200" b="1" i="0" u="none" strike="noStrike" kern="1200" cap="none" spc="0" normalizeH="0" baseline="0" dirty="0">
              <a:ln>
                <a:noFill/>
              </a:ln>
              <a:solidFill>
                <a:schemeClr val="accent1"/>
              </a:solidFill>
              <a:effectLst/>
              <a:uLnTx/>
              <a:uFillTx/>
              <a:cs typeface="Arial"/>
            </a:endParaRPr>
          </a:p>
        </p:txBody>
      </p:sp>
      <p:cxnSp>
        <p:nvCxnSpPr>
          <p:cNvPr id="28" name="Gerader Verbinder 27">
            <a:extLst>
              <a:ext uri="{FF2B5EF4-FFF2-40B4-BE49-F238E27FC236}">
                <a16:creationId xmlns:a16="http://schemas.microsoft.com/office/drawing/2014/main" id="{0019AF18-5729-DE06-D5D4-CEC3227F30AE}"/>
              </a:ext>
            </a:extLst>
          </p:cNvPr>
          <p:cNvCxnSpPr>
            <a:cxnSpLocks/>
          </p:cNvCxnSpPr>
          <p:nvPr/>
        </p:nvCxnSpPr>
        <p:spPr>
          <a:xfrm>
            <a:off x="227896" y="4464707"/>
            <a:ext cx="237615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platzhalter 2">
            <a:extLst>
              <a:ext uri="{FF2B5EF4-FFF2-40B4-BE49-F238E27FC236}">
                <a16:creationId xmlns:a16="http://schemas.microsoft.com/office/drawing/2014/main" id="{E711A7CB-A268-674A-A71B-4EDA6ABDFF2C}"/>
              </a:ext>
            </a:extLst>
          </p:cNvPr>
          <p:cNvSpPr txBox="1">
            <a:spLocks/>
          </p:cNvSpPr>
          <p:nvPr/>
        </p:nvSpPr>
        <p:spPr>
          <a:xfrm>
            <a:off x="6025150" y="3268068"/>
            <a:ext cx="1973850" cy="36000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3000" b="1" dirty="0">
                <a:solidFill>
                  <a:schemeClr val="accent1"/>
                </a:solidFill>
                <a:cs typeface="Arial"/>
              </a:rPr>
              <a:t>24.4</a:t>
            </a:r>
            <a:r>
              <a:rPr kumimoji="0" lang="en-US" sz="2200" b="1" i="0" u="none" strike="noStrike" kern="1200" cap="none" spc="0" normalizeH="0" baseline="0" dirty="0">
                <a:ln>
                  <a:noFill/>
                </a:ln>
                <a:solidFill>
                  <a:schemeClr val="accent1"/>
                </a:solidFill>
                <a:effectLst/>
                <a:uLnTx/>
                <a:uFillTx/>
                <a:cs typeface="Arial"/>
              </a:rPr>
              <a:t>%</a:t>
            </a:r>
          </a:p>
        </p:txBody>
      </p:sp>
      <p:sp>
        <p:nvSpPr>
          <p:cNvPr id="30" name="Textplatzhalter 2">
            <a:extLst>
              <a:ext uri="{FF2B5EF4-FFF2-40B4-BE49-F238E27FC236}">
                <a16:creationId xmlns:a16="http://schemas.microsoft.com/office/drawing/2014/main" id="{EFC6641F-BF6F-D84A-6CB8-DCF59D72C437}"/>
              </a:ext>
            </a:extLst>
          </p:cNvPr>
          <p:cNvSpPr txBox="1">
            <a:spLocks/>
          </p:cNvSpPr>
          <p:nvPr/>
        </p:nvSpPr>
        <p:spPr>
          <a:xfrm>
            <a:off x="6200327" y="2816932"/>
            <a:ext cx="1797423" cy="223327"/>
          </a:xfrm>
          <a:prstGeom prst="rect">
            <a:avLst/>
          </a:prstGeom>
          <a:noFill/>
        </p:spPr>
        <p:txBody>
          <a:bodyPr vert="horz" wrap="none"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400" b="1" dirty="0"/>
              <a:t>Female share</a:t>
            </a:r>
            <a:br>
              <a:rPr lang="en-US" sz="1400" b="1" dirty="0"/>
            </a:br>
            <a:r>
              <a:rPr lang="en-US" sz="1200" dirty="0"/>
              <a:t>overall</a:t>
            </a:r>
          </a:p>
        </p:txBody>
      </p:sp>
      <p:sp>
        <p:nvSpPr>
          <p:cNvPr id="31" name="Textplatzhalter 2">
            <a:extLst>
              <a:ext uri="{FF2B5EF4-FFF2-40B4-BE49-F238E27FC236}">
                <a16:creationId xmlns:a16="http://schemas.microsoft.com/office/drawing/2014/main" id="{EAAF06B9-BE26-6B21-D4EB-4924110EF8CA}"/>
              </a:ext>
            </a:extLst>
          </p:cNvPr>
          <p:cNvSpPr txBox="1">
            <a:spLocks/>
          </p:cNvSpPr>
          <p:nvPr/>
        </p:nvSpPr>
        <p:spPr>
          <a:xfrm>
            <a:off x="6025149" y="4295230"/>
            <a:ext cx="1973303" cy="36000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3000" b="1" dirty="0">
                <a:solidFill>
                  <a:schemeClr val="accent1"/>
                </a:solidFill>
                <a:cs typeface="Arial"/>
              </a:rPr>
              <a:t>23.7</a:t>
            </a:r>
            <a:r>
              <a:rPr kumimoji="0" lang="en-US" sz="2200" b="1" i="0" u="none" strike="noStrike" kern="1200" cap="none" spc="0" normalizeH="0" baseline="0" dirty="0">
                <a:ln>
                  <a:noFill/>
                </a:ln>
                <a:solidFill>
                  <a:schemeClr val="accent1"/>
                </a:solidFill>
                <a:effectLst/>
                <a:uLnTx/>
                <a:uFillTx/>
                <a:cs typeface="Arial"/>
              </a:rPr>
              <a:t>%</a:t>
            </a:r>
          </a:p>
        </p:txBody>
      </p:sp>
      <p:sp>
        <p:nvSpPr>
          <p:cNvPr id="32" name="Textplatzhalter 2">
            <a:extLst>
              <a:ext uri="{FF2B5EF4-FFF2-40B4-BE49-F238E27FC236}">
                <a16:creationId xmlns:a16="http://schemas.microsoft.com/office/drawing/2014/main" id="{E6FEE7EB-4107-7BAF-4D34-9FD998384F66}"/>
              </a:ext>
            </a:extLst>
          </p:cNvPr>
          <p:cNvSpPr txBox="1">
            <a:spLocks/>
          </p:cNvSpPr>
          <p:nvPr/>
        </p:nvSpPr>
        <p:spPr>
          <a:xfrm>
            <a:off x="6200327" y="3825044"/>
            <a:ext cx="1797422"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400" b="1" dirty="0"/>
              <a:t>Female share</a:t>
            </a:r>
            <a:br>
              <a:rPr lang="en-US" sz="1400" b="1" dirty="0"/>
            </a:br>
            <a:r>
              <a:rPr lang="en-US" sz="1200" dirty="0"/>
              <a:t>leadership</a:t>
            </a:r>
            <a:r>
              <a:rPr lang="en-US" sz="1200" b="1" dirty="0"/>
              <a:t>  </a:t>
            </a:r>
            <a:endParaRPr lang="en-US" sz="1200" dirty="0"/>
          </a:p>
        </p:txBody>
      </p:sp>
      <p:sp>
        <p:nvSpPr>
          <p:cNvPr id="33" name="Textplatzhalter 2">
            <a:extLst>
              <a:ext uri="{FF2B5EF4-FFF2-40B4-BE49-F238E27FC236}">
                <a16:creationId xmlns:a16="http://schemas.microsoft.com/office/drawing/2014/main" id="{F75B7355-8108-E50D-DEE0-BE926241114C}"/>
              </a:ext>
            </a:extLst>
          </p:cNvPr>
          <p:cNvSpPr txBox="1">
            <a:spLocks/>
          </p:cNvSpPr>
          <p:nvPr/>
        </p:nvSpPr>
        <p:spPr>
          <a:xfrm>
            <a:off x="6078408" y="2219358"/>
            <a:ext cx="1972754" cy="36000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dirty="0">
                <a:ln>
                  <a:noFill/>
                </a:ln>
                <a:solidFill>
                  <a:schemeClr val="accent1"/>
                </a:solidFill>
                <a:effectLst/>
                <a:uLnTx/>
                <a:uFillTx/>
                <a:cs typeface="Arial"/>
              </a:rPr>
              <a:t>49</a:t>
            </a:r>
            <a:endParaRPr kumimoji="0" lang="en-US" sz="2200" b="1" i="0" u="none" strike="noStrike" kern="1200" cap="none" spc="0" normalizeH="0" baseline="0" dirty="0">
              <a:ln>
                <a:noFill/>
              </a:ln>
              <a:solidFill>
                <a:schemeClr val="accent1"/>
              </a:solidFill>
              <a:effectLst/>
              <a:uLnTx/>
              <a:uFillTx/>
              <a:cs typeface="Arial"/>
            </a:endParaRPr>
          </a:p>
        </p:txBody>
      </p:sp>
      <p:sp>
        <p:nvSpPr>
          <p:cNvPr id="34" name="Textplatzhalter 2">
            <a:extLst>
              <a:ext uri="{FF2B5EF4-FFF2-40B4-BE49-F238E27FC236}">
                <a16:creationId xmlns:a16="http://schemas.microsoft.com/office/drawing/2014/main" id="{1CB053EA-D8DD-FBA4-0515-78CFAD370EF8}"/>
              </a:ext>
            </a:extLst>
          </p:cNvPr>
          <p:cNvSpPr txBox="1">
            <a:spLocks/>
          </p:cNvSpPr>
          <p:nvPr/>
        </p:nvSpPr>
        <p:spPr>
          <a:xfrm>
            <a:off x="6253585" y="1916832"/>
            <a:ext cx="1812264"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lvl="0" indent="0">
              <a:spcBef>
                <a:spcPts val="0"/>
              </a:spcBef>
              <a:buNone/>
            </a:pPr>
            <a:r>
              <a:rPr lang="en-US" sz="1400" b="1" dirty="0"/>
              <a:t>Nations</a:t>
            </a:r>
            <a:br>
              <a:rPr lang="en-US" sz="1600" b="1" dirty="0"/>
            </a:br>
            <a:r>
              <a:rPr lang="en-US" sz="1200" dirty="0"/>
              <a:t>working at our</a:t>
            </a:r>
            <a:br>
              <a:rPr lang="en-US" sz="1200" dirty="0"/>
            </a:br>
            <a:r>
              <a:rPr lang="en-US" sz="1200" dirty="0"/>
              <a:t>Muenster site</a:t>
            </a:r>
          </a:p>
        </p:txBody>
      </p:sp>
      <p:cxnSp>
        <p:nvCxnSpPr>
          <p:cNvPr id="35" name="Gerader Verbinder 34">
            <a:extLst>
              <a:ext uri="{FF2B5EF4-FFF2-40B4-BE49-F238E27FC236}">
                <a16:creationId xmlns:a16="http://schemas.microsoft.com/office/drawing/2014/main" id="{BE9EE452-D7F7-3B5E-53EA-DA03ED679BDD}"/>
              </a:ext>
            </a:extLst>
          </p:cNvPr>
          <p:cNvCxnSpPr>
            <a:cxnSpLocks/>
          </p:cNvCxnSpPr>
          <p:nvPr/>
        </p:nvCxnSpPr>
        <p:spPr>
          <a:xfrm>
            <a:off x="5413711" y="1773214"/>
            <a:ext cx="0" cy="3780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Grafik 2201">
            <a:extLst>
              <a:ext uri="{FF2B5EF4-FFF2-40B4-BE49-F238E27FC236}">
                <a16:creationId xmlns:a16="http://schemas.microsoft.com/office/drawing/2014/main" id="{1750E122-E88E-0901-EA76-E2D7DE17BD9C}"/>
              </a:ext>
            </a:extLst>
          </p:cNvPr>
          <p:cNvSpPr>
            <a:spLocks noChangeAspect="1"/>
          </p:cNvSpPr>
          <p:nvPr/>
        </p:nvSpPr>
        <p:spPr>
          <a:xfrm>
            <a:off x="256330" y="1834502"/>
            <a:ext cx="468000" cy="344680"/>
          </a:xfrm>
          <a:custGeom>
            <a:avLst/>
            <a:gdLst>
              <a:gd name="connsiteX0" fmla="*/ 438150 w 470630"/>
              <a:gd name="connsiteY0" fmla="*/ 102394 h 346617"/>
              <a:gd name="connsiteX1" fmla="*/ 411385 w 470630"/>
              <a:gd name="connsiteY1" fmla="*/ 111919 h 346617"/>
              <a:gd name="connsiteX2" fmla="*/ 383953 w 470630"/>
              <a:gd name="connsiteY2" fmla="*/ 32671 h 346617"/>
              <a:gd name="connsiteX3" fmla="*/ 235553 w 470630"/>
              <a:gd name="connsiteY3" fmla="*/ 0 h 346617"/>
              <a:gd name="connsiteX4" fmla="*/ 87059 w 470630"/>
              <a:gd name="connsiteY4" fmla="*/ 32671 h 346617"/>
              <a:gd name="connsiteX5" fmla="*/ 59341 w 470630"/>
              <a:gd name="connsiteY5" fmla="*/ 112395 h 346617"/>
              <a:gd name="connsiteX6" fmla="*/ 32480 w 470630"/>
              <a:gd name="connsiteY6" fmla="*/ 102394 h 346617"/>
              <a:gd name="connsiteX7" fmla="*/ 0 w 470630"/>
              <a:gd name="connsiteY7" fmla="*/ 125349 h 346617"/>
              <a:gd name="connsiteX8" fmla="*/ 32480 w 470630"/>
              <a:gd name="connsiteY8" fmla="*/ 148304 h 346617"/>
              <a:gd name="connsiteX9" fmla="*/ 43815 w 470630"/>
              <a:gd name="connsiteY9" fmla="*/ 146876 h 346617"/>
              <a:gd name="connsiteX10" fmla="*/ 41815 w 470630"/>
              <a:gd name="connsiteY10" fmla="*/ 160496 h 346617"/>
              <a:gd name="connsiteX11" fmla="*/ 41815 w 470630"/>
              <a:gd name="connsiteY11" fmla="*/ 330518 h 346617"/>
              <a:gd name="connsiteX12" fmla="*/ 58479 w 470630"/>
              <a:gd name="connsiteY12" fmla="*/ 346615 h 346617"/>
              <a:gd name="connsiteX13" fmla="*/ 58484 w 470630"/>
              <a:gd name="connsiteY13" fmla="*/ 346615 h 346617"/>
              <a:gd name="connsiteX14" fmla="*/ 95726 w 470630"/>
              <a:gd name="connsiteY14" fmla="*/ 346615 h 346617"/>
              <a:gd name="connsiteX15" fmla="*/ 112395 w 470630"/>
              <a:gd name="connsiteY15" fmla="*/ 330518 h 346617"/>
              <a:gd name="connsiteX16" fmla="*/ 112395 w 470630"/>
              <a:gd name="connsiteY16" fmla="*/ 297847 h 346617"/>
              <a:gd name="connsiteX17" fmla="*/ 360045 w 470630"/>
              <a:gd name="connsiteY17" fmla="*/ 297847 h 346617"/>
              <a:gd name="connsiteX18" fmla="*/ 360045 w 470630"/>
              <a:gd name="connsiteY18" fmla="*/ 330518 h 346617"/>
              <a:gd name="connsiteX19" fmla="*/ 376714 w 470630"/>
              <a:gd name="connsiteY19" fmla="*/ 346615 h 346617"/>
              <a:gd name="connsiteX20" fmla="*/ 413957 w 470630"/>
              <a:gd name="connsiteY20" fmla="*/ 346615 h 346617"/>
              <a:gd name="connsiteX21" fmla="*/ 430625 w 470630"/>
              <a:gd name="connsiteY21" fmla="*/ 330523 h 346617"/>
              <a:gd name="connsiteX22" fmla="*/ 430625 w 470630"/>
              <a:gd name="connsiteY22" fmla="*/ 330518 h 346617"/>
              <a:gd name="connsiteX23" fmla="*/ 430625 w 470630"/>
              <a:gd name="connsiteY23" fmla="*/ 297847 h 346617"/>
              <a:gd name="connsiteX24" fmla="*/ 430625 w 470630"/>
              <a:gd name="connsiteY24" fmla="*/ 297847 h 346617"/>
              <a:gd name="connsiteX25" fmla="*/ 430625 w 470630"/>
              <a:gd name="connsiteY25" fmla="*/ 159163 h 346617"/>
              <a:gd name="connsiteX26" fmla="*/ 428625 w 470630"/>
              <a:gd name="connsiteY26" fmla="*/ 147352 h 346617"/>
              <a:gd name="connsiteX27" fmla="*/ 438150 w 470630"/>
              <a:gd name="connsiteY27" fmla="*/ 148304 h 346617"/>
              <a:gd name="connsiteX28" fmla="*/ 470630 w 470630"/>
              <a:gd name="connsiteY28" fmla="*/ 125349 h 346617"/>
              <a:gd name="connsiteX29" fmla="*/ 438150 w 470630"/>
              <a:gd name="connsiteY29" fmla="*/ 102394 h 346617"/>
              <a:gd name="connsiteX30" fmla="*/ 103632 w 470630"/>
              <a:gd name="connsiteY30" fmla="*/ 46673 h 346617"/>
              <a:gd name="connsiteX31" fmla="*/ 235553 w 470630"/>
              <a:gd name="connsiteY31" fmla="*/ 21717 h 346617"/>
              <a:gd name="connsiteX32" fmla="*/ 367475 w 470630"/>
              <a:gd name="connsiteY32" fmla="*/ 46673 h 346617"/>
              <a:gd name="connsiteX33" fmla="*/ 391382 w 470630"/>
              <a:gd name="connsiteY33" fmla="*/ 124968 h 346617"/>
              <a:gd name="connsiteX34" fmla="*/ 234982 w 470630"/>
              <a:gd name="connsiteY34" fmla="*/ 109633 h 346617"/>
              <a:gd name="connsiteX35" fmla="*/ 79248 w 470630"/>
              <a:gd name="connsiteY35" fmla="*/ 123253 h 346617"/>
              <a:gd name="connsiteX36" fmla="*/ 103632 w 470630"/>
              <a:gd name="connsiteY36" fmla="*/ 46673 h 346617"/>
              <a:gd name="connsiteX37" fmla="*/ 98584 w 470630"/>
              <a:gd name="connsiteY37" fmla="*/ 238125 h 346617"/>
              <a:gd name="connsiteX38" fmla="*/ 65913 w 470630"/>
              <a:gd name="connsiteY38" fmla="*/ 205454 h 346617"/>
              <a:gd name="connsiteX39" fmla="*/ 98584 w 470630"/>
              <a:gd name="connsiteY39" fmla="*/ 172784 h 346617"/>
              <a:gd name="connsiteX40" fmla="*/ 131255 w 470630"/>
              <a:gd name="connsiteY40" fmla="*/ 205454 h 346617"/>
              <a:gd name="connsiteX41" fmla="*/ 98584 w 470630"/>
              <a:gd name="connsiteY41" fmla="*/ 238125 h 346617"/>
              <a:gd name="connsiteX42" fmla="*/ 310515 w 470630"/>
              <a:gd name="connsiteY42" fmla="*/ 220790 h 346617"/>
              <a:gd name="connsiteX43" fmla="*/ 166497 w 470630"/>
              <a:gd name="connsiteY43" fmla="*/ 220790 h 346617"/>
              <a:gd name="connsiteX44" fmla="*/ 162116 w 470630"/>
              <a:gd name="connsiteY44" fmla="*/ 216503 h 346617"/>
              <a:gd name="connsiteX45" fmla="*/ 166497 w 470630"/>
              <a:gd name="connsiteY45" fmla="*/ 212122 h 346617"/>
              <a:gd name="connsiteX46" fmla="*/ 310515 w 470630"/>
              <a:gd name="connsiteY46" fmla="*/ 212122 h 346617"/>
              <a:gd name="connsiteX47" fmla="*/ 314896 w 470630"/>
              <a:gd name="connsiteY47" fmla="*/ 216503 h 346617"/>
              <a:gd name="connsiteX48" fmla="*/ 310611 w 470630"/>
              <a:gd name="connsiteY48" fmla="*/ 220791 h 346617"/>
              <a:gd name="connsiteX49" fmla="*/ 310515 w 470630"/>
              <a:gd name="connsiteY49" fmla="*/ 220790 h 346617"/>
              <a:gd name="connsiteX50" fmla="*/ 310515 w 470630"/>
              <a:gd name="connsiteY50" fmla="*/ 209931 h 346617"/>
              <a:gd name="connsiteX51" fmla="*/ 166497 w 470630"/>
              <a:gd name="connsiteY51" fmla="*/ 209931 h 346617"/>
              <a:gd name="connsiteX52" fmla="*/ 162116 w 470630"/>
              <a:gd name="connsiteY52" fmla="*/ 205645 h 346617"/>
              <a:gd name="connsiteX53" fmla="*/ 166497 w 470630"/>
              <a:gd name="connsiteY53" fmla="*/ 201263 h 346617"/>
              <a:gd name="connsiteX54" fmla="*/ 310515 w 470630"/>
              <a:gd name="connsiteY54" fmla="*/ 201263 h 346617"/>
              <a:gd name="connsiteX55" fmla="*/ 314896 w 470630"/>
              <a:gd name="connsiteY55" fmla="*/ 205645 h 346617"/>
              <a:gd name="connsiteX56" fmla="*/ 310515 w 470630"/>
              <a:gd name="connsiteY56" fmla="*/ 209550 h 346617"/>
              <a:gd name="connsiteX57" fmla="*/ 310515 w 470630"/>
              <a:gd name="connsiteY57" fmla="*/ 200406 h 346617"/>
              <a:gd name="connsiteX58" fmla="*/ 166497 w 470630"/>
              <a:gd name="connsiteY58" fmla="*/ 200406 h 346617"/>
              <a:gd name="connsiteX59" fmla="*/ 161519 w 470630"/>
              <a:gd name="connsiteY59" fmla="*/ 196716 h 346617"/>
              <a:gd name="connsiteX60" fmla="*/ 165208 w 470630"/>
              <a:gd name="connsiteY60" fmla="*/ 191738 h 346617"/>
              <a:gd name="connsiteX61" fmla="*/ 166497 w 470630"/>
              <a:gd name="connsiteY61" fmla="*/ 191738 h 346617"/>
              <a:gd name="connsiteX62" fmla="*/ 310515 w 470630"/>
              <a:gd name="connsiteY62" fmla="*/ 191738 h 346617"/>
              <a:gd name="connsiteX63" fmla="*/ 315493 w 470630"/>
              <a:gd name="connsiteY63" fmla="*/ 195428 h 346617"/>
              <a:gd name="connsiteX64" fmla="*/ 311804 w 470630"/>
              <a:gd name="connsiteY64" fmla="*/ 200406 h 346617"/>
              <a:gd name="connsiteX65" fmla="*/ 310515 w 470630"/>
              <a:gd name="connsiteY65" fmla="*/ 200406 h 346617"/>
              <a:gd name="connsiteX66" fmla="*/ 375761 w 470630"/>
              <a:gd name="connsiteY66" fmla="*/ 238506 h 346617"/>
              <a:gd name="connsiteX67" fmla="*/ 344256 w 470630"/>
              <a:gd name="connsiteY67" fmla="*/ 204710 h 346617"/>
              <a:gd name="connsiteX68" fmla="*/ 378052 w 470630"/>
              <a:gd name="connsiteY68" fmla="*/ 173205 h 346617"/>
              <a:gd name="connsiteX69" fmla="*/ 409575 w 470630"/>
              <a:gd name="connsiteY69" fmla="*/ 205454 h 346617"/>
              <a:gd name="connsiteX70" fmla="*/ 375771 w 470630"/>
              <a:gd name="connsiteY70" fmla="*/ 238125 h 346617"/>
              <a:gd name="connsiteX71" fmla="*/ 375761 w 470630"/>
              <a:gd name="connsiteY71" fmla="*/ 238125 h 34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70630" h="346617">
                <a:moveTo>
                  <a:pt x="438150" y="102394"/>
                </a:moveTo>
                <a:cubicBezTo>
                  <a:pt x="428334" y="101999"/>
                  <a:pt x="418745" y="105412"/>
                  <a:pt x="411385" y="111919"/>
                </a:cubicBezTo>
                <a:cubicBezTo>
                  <a:pt x="405860" y="85725"/>
                  <a:pt x="396526" y="47625"/>
                  <a:pt x="383953" y="32671"/>
                </a:cubicBezTo>
                <a:cubicBezTo>
                  <a:pt x="364331" y="9525"/>
                  <a:pt x="321278" y="0"/>
                  <a:pt x="235553" y="0"/>
                </a:cubicBezTo>
                <a:cubicBezTo>
                  <a:pt x="149828" y="0"/>
                  <a:pt x="106775" y="9525"/>
                  <a:pt x="87059" y="32671"/>
                </a:cubicBezTo>
                <a:cubicBezTo>
                  <a:pt x="74009" y="48197"/>
                  <a:pt x="64294" y="87821"/>
                  <a:pt x="59341" y="112395"/>
                </a:cubicBezTo>
                <a:cubicBezTo>
                  <a:pt x="52063" y="105639"/>
                  <a:pt x="42404" y="102042"/>
                  <a:pt x="32480" y="102394"/>
                </a:cubicBezTo>
                <a:cubicBezTo>
                  <a:pt x="14573" y="102394"/>
                  <a:pt x="0" y="112681"/>
                  <a:pt x="0" y="125349"/>
                </a:cubicBezTo>
                <a:cubicBezTo>
                  <a:pt x="0" y="138017"/>
                  <a:pt x="14573" y="148304"/>
                  <a:pt x="32480" y="148304"/>
                </a:cubicBezTo>
                <a:cubicBezTo>
                  <a:pt x="36302" y="148285"/>
                  <a:pt x="40108" y="147805"/>
                  <a:pt x="43815" y="146876"/>
                </a:cubicBezTo>
                <a:cubicBezTo>
                  <a:pt x="42445" y="151284"/>
                  <a:pt x="41771" y="155880"/>
                  <a:pt x="41815" y="160496"/>
                </a:cubicBezTo>
                <a:lnTo>
                  <a:pt x="41815" y="330518"/>
                </a:lnTo>
                <a:cubicBezTo>
                  <a:pt x="41971" y="339564"/>
                  <a:pt x="49432" y="346771"/>
                  <a:pt x="58479" y="346615"/>
                </a:cubicBezTo>
                <a:cubicBezTo>
                  <a:pt x="58480" y="346615"/>
                  <a:pt x="58482" y="346615"/>
                  <a:pt x="58484" y="346615"/>
                </a:cubicBezTo>
                <a:lnTo>
                  <a:pt x="95726" y="346615"/>
                </a:lnTo>
                <a:cubicBezTo>
                  <a:pt x="104754" y="346722"/>
                  <a:pt x="112187" y="339544"/>
                  <a:pt x="112395" y="330518"/>
                </a:cubicBezTo>
                <a:lnTo>
                  <a:pt x="112395" y="297847"/>
                </a:lnTo>
                <a:lnTo>
                  <a:pt x="360045" y="297847"/>
                </a:lnTo>
                <a:lnTo>
                  <a:pt x="360045" y="330518"/>
                </a:lnTo>
                <a:cubicBezTo>
                  <a:pt x="360253" y="339544"/>
                  <a:pt x="367686" y="346722"/>
                  <a:pt x="376714" y="346615"/>
                </a:cubicBezTo>
                <a:lnTo>
                  <a:pt x="413957" y="346615"/>
                </a:lnTo>
                <a:cubicBezTo>
                  <a:pt x="423003" y="346774"/>
                  <a:pt x="430466" y="339569"/>
                  <a:pt x="430625" y="330523"/>
                </a:cubicBezTo>
                <a:cubicBezTo>
                  <a:pt x="430625" y="330521"/>
                  <a:pt x="430625" y="330519"/>
                  <a:pt x="430625" y="330518"/>
                </a:cubicBezTo>
                <a:lnTo>
                  <a:pt x="430625" y="297847"/>
                </a:lnTo>
                <a:lnTo>
                  <a:pt x="430625" y="297847"/>
                </a:lnTo>
                <a:lnTo>
                  <a:pt x="430625" y="159163"/>
                </a:lnTo>
                <a:cubicBezTo>
                  <a:pt x="430655" y="155139"/>
                  <a:pt x="429978" y="151141"/>
                  <a:pt x="428625" y="147352"/>
                </a:cubicBezTo>
                <a:cubicBezTo>
                  <a:pt x="431759" y="147997"/>
                  <a:pt x="434951" y="148316"/>
                  <a:pt x="438150" y="148304"/>
                </a:cubicBezTo>
                <a:cubicBezTo>
                  <a:pt x="456057" y="148304"/>
                  <a:pt x="470630" y="138017"/>
                  <a:pt x="470630" y="125349"/>
                </a:cubicBezTo>
                <a:cubicBezTo>
                  <a:pt x="470630" y="112681"/>
                  <a:pt x="455676" y="102394"/>
                  <a:pt x="438150" y="102394"/>
                </a:cubicBezTo>
                <a:close/>
                <a:moveTo>
                  <a:pt x="103632" y="46673"/>
                </a:moveTo>
                <a:cubicBezTo>
                  <a:pt x="122682" y="24479"/>
                  <a:pt x="184023" y="21717"/>
                  <a:pt x="235553" y="21717"/>
                </a:cubicBezTo>
                <a:cubicBezTo>
                  <a:pt x="287084" y="21717"/>
                  <a:pt x="348615" y="24479"/>
                  <a:pt x="367475" y="46673"/>
                </a:cubicBezTo>
                <a:cubicBezTo>
                  <a:pt x="377000" y="57626"/>
                  <a:pt x="385953" y="95631"/>
                  <a:pt x="391382" y="124968"/>
                </a:cubicBezTo>
                <a:cubicBezTo>
                  <a:pt x="365093" y="117348"/>
                  <a:pt x="321564" y="109633"/>
                  <a:pt x="234982" y="109633"/>
                </a:cubicBezTo>
                <a:cubicBezTo>
                  <a:pt x="154305" y="109633"/>
                  <a:pt x="107252" y="115824"/>
                  <a:pt x="79248" y="123253"/>
                </a:cubicBezTo>
                <a:cubicBezTo>
                  <a:pt x="84582" y="95250"/>
                  <a:pt x="94202" y="57912"/>
                  <a:pt x="103632" y="46673"/>
                </a:cubicBezTo>
                <a:close/>
                <a:moveTo>
                  <a:pt x="98584" y="238125"/>
                </a:moveTo>
                <a:cubicBezTo>
                  <a:pt x="80540" y="238125"/>
                  <a:pt x="65913" y="223498"/>
                  <a:pt x="65913" y="205454"/>
                </a:cubicBezTo>
                <a:cubicBezTo>
                  <a:pt x="65913" y="187411"/>
                  <a:pt x="80540" y="172784"/>
                  <a:pt x="98584" y="172784"/>
                </a:cubicBezTo>
                <a:cubicBezTo>
                  <a:pt x="116627" y="172784"/>
                  <a:pt x="131255" y="187411"/>
                  <a:pt x="131255" y="205454"/>
                </a:cubicBezTo>
                <a:cubicBezTo>
                  <a:pt x="131255" y="223498"/>
                  <a:pt x="116627" y="238125"/>
                  <a:pt x="98584" y="238125"/>
                </a:cubicBezTo>
                <a:close/>
                <a:moveTo>
                  <a:pt x="310515" y="220790"/>
                </a:moveTo>
                <a:lnTo>
                  <a:pt x="166497" y="220790"/>
                </a:lnTo>
                <a:cubicBezTo>
                  <a:pt x="164114" y="220790"/>
                  <a:pt x="162167" y="218886"/>
                  <a:pt x="162116" y="216503"/>
                </a:cubicBezTo>
                <a:cubicBezTo>
                  <a:pt x="162166" y="214105"/>
                  <a:pt x="164098" y="212172"/>
                  <a:pt x="166497" y="212122"/>
                </a:cubicBezTo>
                <a:lnTo>
                  <a:pt x="310515" y="212122"/>
                </a:lnTo>
                <a:cubicBezTo>
                  <a:pt x="312935" y="212122"/>
                  <a:pt x="314896" y="214083"/>
                  <a:pt x="314896" y="216503"/>
                </a:cubicBezTo>
                <a:cubicBezTo>
                  <a:pt x="314897" y="218870"/>
                  <a:pt x="312979" y="220790"/>
                  <a:pt x="310611" y="220791"/>
                </a:cubicBezTo>
                <a:cubicBezTo>
                  <a:pt x="310579" y="220791"/>
                  <a:pt x="310547" y="220790"/>
                  <a:pt x="310515" y="220790"/>
                </a:cubicBezTo>
                <a:close/>
                <a:moveTo>
                  <a:pt x="310515" y="209931"/>
                </a:moveTo>
                <a:lnTo>
                  <a:pt x="166497" y="209931"/>
                </a:lnTo>
                <a:cubicBezTo>
                  <a:pt x="164114" y="209932"/>
                  <a:pt x="162167" y="208027"/>
                  <a:pt x="162116" y="205645"/>
                </a:cubicBezTo>
                <a:cubicBezTo>
                  <a:pt x="162166" y="203246"/>
                  <a:pt x="164098" y="201314"/>
                  <a:pt x="166497" y="201263"/>
                </a:cubicBezTo>
                <a:lnTo>
                  <a:pt x="310515" y="201263"/>
                </a:lnTo>
                <a:cubicBezTo>
                  <a:pt x="312935" y="201263"/>
                  <a:pt x="314896" y="203225"/>
                  <a:pt x="314896" y="205645"/>
                </a:cubicBezTo>
                <a:cubicBezTo>
                  <a:pt x="314696" y="207899"/>
                  <a:pt x="312777" y="209609"/>
                  <a:pt x="310515" y="209550"/>
                </a:cubicBezTo>
                <a:close/>
                <a:moveTo>
                  <a:pt x="310515" y="200406"/>
                </a:moveTo>
                <a:lnTo>
                  <a:pt x="166497" y="200406"/>
                </a:lnTo>
                <a:cubicBezTo>
                  <a:pt x="164103" y="200762"/>
                  <a:pt x="161875" y="199110"/>
                  <a:pt x="161519" y="196716"/>
                </a:cubicBezTo>
                <a:cubicBezTo>
                  <a:pt x="161163" y="194323"/>
                  <a:pt x="162815" y="192094"/>
                  <a:pt x="165208" y="191738"/>
                </a:cubicBezTo>
                <a:cubicBezTo>
                  <a:pt x="165636" y="191675"/>
                  <a:pt x="166070" y="191675"/>
                  <a:pt x="166497" y="191738"/>
                </a:cubicBezTo>
                <a:lnTo>
                  <a:pt x="310515" y="191738"/>
                </a:lnTo>
                <a:cubicBezTo>
                  <a:pt x="312909" y="191382"/>
                  <a:pt x="315137" y="193034"/>
                  <a:pt x="315493" y="195428"/>
                </a:cubicBezTo>
                <a:cubicBezTo>
                  <a:pt x="315849" y="197821"/>
                  <a:pt x="314197" y="200050"/>
                  <a:pt x="311804" y="200406"/>
                </a:cubicBezTo>
                <a:cubicBezTo>
                  <a:pt x="311376" y="200469"/>
                  <a:pt x="310942" y="200469"/>
                  <a:pt x="310515" y="200406"/>
                </a:cubicBezTo>
                <a:close/>
                <a:moveTo>
                  <a:pt x="375761" y="238506"/>
                </a:moveTo>
                <a:cubicBezTo>
                  <a:pt x="357729" y="237873"/>
                  <a:pt x="343623" y="222742"/>
                  <a:pt x="344256" y="204710"/>
                </a:cubicBezTo>
                <a:cubicBezTo>
                  <a:pt x="344889" y="186677"/>
                  <a:pt x="360020" y="172572"/>
                  <a:pt x="378052" y="173205"/>
                </a:cubicBezTo>
                <a:cubicBezTo>
                  <a:pt x="395484" y="173816"/>
                  <a:pt x="409361" y="188013"/>
                  <a:pt x="409575" y="205454"/>
                </a:cubicBezTo>
                <a:cubicBezTo>
                  <a:pt x="409262" y="223811"/>
                  <a:pt x="394128" y="238438"/>
                  <a:pt x="375771" y="238125"/>
                </a:cubicBezTo>
                <a:cubicBezTo>
                  <a:pt x="375768" y="238125"/>
                  <a:pt x="375765" y="238125"/>
                  <a:pt x="375761" y="238125"/>
                </a:cubicBezTo>
                <a:close/>
              </a:path>
            </a:pathLst>
          </a:custGeom>
          <a:solidFill>
            <a:srgbClr val="21A0D2"/>
          </a:solidFill>
          <a:ln w="9525" cap="flat">
            <a:noFill/>
            <a:prstDash val="solid"/>
            <a:miter/>
          </a:ln>
        </p:spPr>
        <p:txBody>
          <a:bodyPr rtlCol="0" anchor="ctr"/>
          <a:lstStyle/>
          <a:p>
            <a:endParaRPr lang="en-US" dirty="0"/>
          </a:p>
        </p:txBody>
      </p:sp>
      <p:sp>
        <p:nvSpPr>
          <p:cNvPr id="37" name="Grafik 1919">
            <a:extLst>
              <a:ext uri="{FF2B5EF4-FFF2-40B4-BE49-F238E27FC236}">
                <a16:creationId xmlns:a16="http://schemas.microsoft.com/office/drawing/2014/main" id="{386755DD-FF77-874D-72B2-E9F5651FF39E}"/>
              </a:ext>
            </a:extLst>
          </p:cNvPr>
          <p:cNvSpPr>
            <a:spLocks noChangeAspect="1"/>
          </p:cNvSpPr>
          <p:nvPr/>
        </p:nvSpPr>
        <p:spPr>
          <a:xfrm>
            <a:off x="2924834" y="4743172"/>
            <a:ext cx="364712" cy="431680"/>
          </a:xfrm>
          <a:custGeom>
            <a:avLst/>
            <a:gdLst>
              <a:gd name="connsiteX0" fmla="*/ 50268 w 312962"/>
              <a:gd name="connsiteY0" fmla="*/ 327850 h 370427"/>
              <a:gd name="connsiteX1" fmla="*/ 41314 w 312962"/>
              <a:gd name="connsiteY1" fmla="*/ 322136 h 370427"/>
              <a:gd name="connsiteX2" fmla="*/ 27598 w 312962"/>
              <a:gd name="connsiteY2" fmla="*/ 370427 h 370427"/>
              <a:gd name="connsiteX3" fmla="*/ 16930 w 312962"/>
              <a:gd name="connsiteY3" fmla="*/ 354140 h 370427"/>
              <a:gd name="connsiteX4" fmla="*/ 29503 w 312962"/>
              <a:gd name="connsiteY4" fmla="*/ 312801 h 370427"/>
              <a:gd name="connsiteX5" fmla="*/ 226956 w 312962"/>
              <a:gd name="connsiteY5" fmla="*/ 119253 h 370427"/>
              <a:gd name="connsiteX6" fmla="*/ 19216 w 312962"/>
              <a:gd name="connsiteY6" fmla="*/ 296799 h 370427"/>
              <a:gd name="connsiteX7" fmla="*/ 310967 w 312962"/>
              <a:gd name="connsiteY7" fmla="*/ 0 h 370427"/>
              <a:gd name="connsiteX8" fmla="*/ 50268 w 312962"/>
              <a:gd name="connsiteY8" fmla="*/ 327850 h 37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2" h="370427">
                <a:moveTo>
                  <a:pt x="50268" y="327850"/>
                </a:moveTo>
                <a:cubicBezTo>
                  <a:pt x="46648" y="325660"/>
                  <a:pt x="43886" y="323945"/>
                  <a:pt x="41314" y="322136"/>
                </a:cubicBezTo>
                <a:cubicBezTo>
                  <a:pt x="35462" y="337841"/>
                  <a:pt x="30875" y="353990"/>
                  <a:pt x="27598" y="370427"/>
                </a:cubicBezTo>
                <a:cubicBezTo>
                  <a:pt x="22169" y="360902"/>
                  <a:pt x="16930" y="354140"/>
                  <a:pt x="16930" y="354140"/>
                </a:cubicBezTo>
                <a:cubicBezTo>
                  <a:pt x="20041" y="340054"/>
                  <a:pt x="24245" y="326233"/>
                  <a:pt x="29503" y="312801"/>
                </a:cubicBezTo>
                <a:cubicBezTo>
                  <a:pt x="86558" y="171450"/>
                  <a:pt x="225432" y="126873"/>
                  <a:pt x="226956" y="119253"/>
                </a:cubicBezTo>
                <a:cubicBezTo>
                  <a:pt x="88463" y="150876"/>
                  <a:pt x="28741" y="276225"/>
                  <a:pt x="19216" y="296799"/>
                </a:cubicBezTo>
                <a:cubicBezTo>
                  <a:pt x="-85559" y="50197"/>
                  <a:pt x="270390" y="65723"/>
                  <a:pt x="310967" y="0"/>
                </a:cubicBezTo>
                <a:cubicBezTo>
                  <a:pt x="333541" y="269081"/>
                  <a:pt x="159424" y="379762"/>
                  <a:pt x="50268" y="327850"/>
                </a:cubicBezTo>
                <a:close/>
              </a:path>
            </a:pathLst>
          </a:custGeom>
          <a:solidFill>
            <a:srgbClr val="21A0D2"/>
          </a:solidFill>
          <a:ln w="9525" cap="flat">
            <a:noFill/>
            <a:prstDash val="solid"/>
            <a:miter/>
          </a:ln>
        </p:spPr>
        <p:txBody>
          <a:bodyPr rtlCol="0" anchor="ctr"/>
          <a:lstStyle/>
          <a:p>
            <a:endParaRPr lang="en-US" dirty="0"/>
          </a:p>
        </p:txBody>
      </p:sp>
      <p:sp>
        <p:nvSpPr>
          <p:cNvPr id="38" name="Grafik 3">
            <a:extLst>
              <a:ext uri="{FF2B5EF4-FFF2-40B4-BE49-F238E27FC236}">
                <a16:creationId xmlns:a16="http://schemas.microsoft.com/office/drawing/2014/main" id="{9A5F921F-D7CF-2FC7-E80D-A41571176B4A}"/>
              </a:ext>
            </a:extLst>
          </p:cNvPr>
          <p:cNvSpPr>
            <a:spLocks noChangeAspect="1"/>
          </p:cNvSpPr>
          <p:nvPr/>
        </p:nvSpPr>
        <p:spPr>
          <a:xfrm>
            <a:off x="256462" y="4725144"/>
            <a:ext cx="467737" cy="467737"/>
          </a:xfrm>
          <a:custGeom>
            <a:avLst/>
            <a:gdLst>
              <a:gd name="connsiteX0" fmla="*/ 212979 w 425767"/>
              <a:gd name="connsiteY0" fmla="*/ 0 h 425767"/>
              <a:gd name="connsiteX1" fmla="*/ 0 w 425767"/>
              <a:gd name="connsiteY1" fmla="*/ 212789 h 425767"/>
              <a:gd name="connsiteX2" fmla="*/ 212789 w 425767"/>
              <a:gd name="connsiteY2" fmla="*/ 425768 h 425767"/>
              <a:gd name="connsiteX3" fmla="*/ 425767 w 425767"/>
              <a:gd name="connsiteY3" fmla="*/ 212979 h 425767"/>
              <a:gd name="connsiteX4" fmla="*/ 425768 w 425767"/>
              <a:gd name="connsiteY4" fmla="*/ 212884 h 425767"/>
              <a:gd name="connsiteX5" fmla="*/ 212979 w 425767"/>
              <a:gd name="connsiteY5" fmla="*/ 0 h 425767"/>
              <a:gd name="connsiteX6" fmla="*/ 409670 w 425767"/>
              <a:gd name="connsiteY6" fmla="*/ 204407 h 425767"/>
              <a:gd name="connsiteX7" fmla="*/ 406908 w 425767"/>
              <a:gd name="connsiteY7" fmla="*/ 204407 h 425767"/>
              <a:gd name="connsiteX8" fmla="*/ 393764 w 425767"/>
              <a:gd name="connsiteY8" fmla="*/ 216218 h 425767"/>
              <a:gd name="connsiteX9" fmla="*/ 390620 w 425767"/>
              <a:gd name="connsiteY9" fmla="*/ 225743 h 425767"/>
              <a:gd name="connsiteX10" fmla="*/ 389763 w 425767"/>
              <a:gd name="connsiteY10" fmla="*/ 234410 h 425767"/>
              <a:gd name="connsiteX11" fmla="*/ 376428 w 425767"/>
              <a:gd name="connsiteY11" fmla="*/ 219075 h 425767"/>
              <a:gd name="connsiteX12" fmla="*/ 370713 w 425767"/>
              <a:gd name="connsiteY12" fmla="*/ 200597 h 425767"/>
              <a:gd name="connsiteX13" fmla="*/ 364998 w 425767"/>
              <a:gd name="connsiteY13" fmla="*/ 200597 h 425767"/>
              <a:gd name="connsiteX14" fmla="*/ 354521 w 425767"/>
              <a:gd name="connsiteY14" fmla="*/ 192024 h 425767"/>
              <a:gd name="connsiteX15" fmla="*/ 343567 w 425767"/>
              <a:gd name="connsiteY15" fmla="*/ 194501 h 425767"/>
              <a:gd name="connsiteX16" fmla="*/ 332804 w 425767"/>
              <a:gd name="connsiteY16" fmla="*/ 191262 h 425767"/>
              <a:gd name="connsiteX17" fmla="*/ 320897 w 425767"/>
              <a:gd name="connsiteY17" fmla="*/ 189929 h 425767"/>
              <a:gd name="connsiteX18" fmla="*/ 314420 w 425767"/>
              <a:gd name="connsiteY18" fmla="*/ 183071 h 425767"/>
              <a:gd name="connsiteX19" fmla="*/ 308229 w 425767"/>
              <a:gd name="connsiteY19" fmla="*/ 186023 h 425767"/>
              <a:gd name="connsiteX20" fmla="*/ 322326 w 425767"/>
              <a:gd name="connsiteY20" fmla="*/ 201073 h 425767"/>
              <a:gd name="connsiteX21" fmla="*/ 334328 w 425767"/>
              <a:gd name="connsiteY21" fmla="*/ 199073 h 425767"/>
              <a:gd name="connsiteX22" fmla="*/ 339852 w 425767"/>
              <a:gd name="connsiteY22" fmla="*/ 207264 h 425767"/>
              <a:gd name="connsiteX23" fmla="*/ 330327 w 425767"/>
              <a:gd name="connsiteY23" fmla="*/ 223361 h 425767"/>
              <a:gd name="connsiteX24" fmla="*/ 310706 w 425767"/>
              <a:gd name="connsiteY24" fmla="*/ 230410 h 425767"/>
              <a:gd name="connsiteX25" fmla="*/ 302705 w 425767"/>
              <a:gd name="connsiteY25" fmla="*/ 217551 h 425767"/>
              <a:gd name="connsiteX26" fmla="*/ 290798 w 425767"/>
              <a:gd name="connsiteY26" fmla="*/ 206597 h 425767"/>
              <a:gd name="connsiteX27" fmla="*/ 283559 w 425767"/>
              <a:gd name="connsiteY27" fmla="*/ 195167 h 425767"/>
              <a:gd name="connsiteX28" fmla="*/ 283559 w 425767"/>
              <a:gd name="connsiteY28" fmla="*/ 210979 h 425767"/>
              <a:gd name="connsiteX29" fmla="*/ 312134 w 425767"/>
              <a:gd name="connsiteY29" fmla="*/ 239554 h 425767"/>
              <a:gd name="connsiteX30" fmla="*/ 326612 w 425767"/>
              <a:gd name="connsiteY30" fmla="*/ 234601 h 425767"/>
              <a:gd name="connsiteX31" fmla="*/ 327279 w 425767"/>
              <a:gd name="connsiteY31" fmla="*/ 245555 h 425767"/>
              <a:gd name="connsiteX32" fmla="*/ 312134 w 425767"/>
              <a:gd name="connsiteY32" fmla="*/ 281845 h 425767"/>
              <a:gd name="connsiteX33" fmla="*/ 314039 w 425767"/>
              <a:gd name="connsiteY33" fmla="*/ 314420 h 425767"/>
              <a:gd name="connsiteX34" fmla="*/ 303086 w 425767"/>
              <a:gd name="connsiteY34" fmla="*/ 320993 h 425767"/>
              <a:gd name="connsiteX35" fmla="*/ 310039 w 425767"/>
              <a:gd name="connsiteY35" fmla="*/ 336423 h 425767"/>
              <a:gd name="connsiteX36" fmla="*/ 302133 w 425767"/>
              <a:gd name="connsiteY36" fmla="*/ 349758 h 425767"/>
              <a:gd name="connsiteX37" fmla="*/ 291370 w 425767"/>
              <a:gd name="connsiteY37" fmla="*/ 369284 h 425767"/>
              <a:gd name="connsiteX38" fmla="*/ 275749 w 425767"/>
              <a:gd name="connsiteY38" fmla="*/ 374333 h 425767"/>
              <a:gd name="connsiteX39" fmla="*/ 267081 w 425767"/>
              <a:gd name="connsiteY39" fmla="*/ 344138 h 425767"/>
              <a:gd name="connsiteX40" fmla="*/ 254984 w 425767"/>
              <a:gd name="connsiteY40" fmla="*/ 320993 h 425767"/>
              <a:gd name="connsiteX41" fmla="*/ 254984 w 425767"/>
              <a:gd name="connsiteY41" fmla="*/ 304229 h 425767"/>
              <a:gd name="connsiteX42" fmla="*/ 240411 w 425767"/>
              <a:gd name="connsiteY42" fmla="*/ 282512 h 425767"/>
              <a:gd name="connsiteX43" fmla="*/ 241554 w 425767"/>
              <a:gd name="connsiteY43" fmla="*/ 269272 h 425767"/>
              <a:gd name="connsiteX44" fmla="*/ 233077 w 425767"/>
              <a:gd name="connsiteY44" fmla="*/ 271558 h 425767"/>
              <a:gd name="connsiteX45" fmla="*/ 227362 w 425767"/>
              <a:gd name="connsiteY45" fmla="*/ 265176 h 425767"/>
              <a:gd name="connsiteX46" fmla="*/ 201358 w 425767"/>
              <a:gd name="connsiteY46" fmla="*/ 276225 h 425767"/>
              <a:gd name="connsiteX47" fmla="*/ 189357 w 425767"/>
              <a:gd name="connsiteY47" fmla="*/ 262604 h 425767"/>
              <a:gd name="connsiteX48" fmla="*/ 181070 w 425767"/>
              <a:gd name="connsiteY48" fmla="*/ 252317 h 425767"/>
              <a:gd name="connsiteX49" fmla="*/ 181070 w 425767"/>
              <a:gd name="connsiteY49" fmla="*/ 238125 h 425767"/>
              <a:gd name="connsiteX50" fmla="*/ 178118 w 425767"/>
              <a:gd name="connsiteY50" fmla="*/ 228600 h 425767"/>
              <a:gd name="connsiteX51" fmla="*/ 190595 w 425767"/>
              <a:gd name="connsiteY51" fmla="*/ 204978 h 425767"/>
              <a:gd name="connsiteX52" fmla="*/ 189643 w 425767"/>
              <a:gd name="connsiteY52" fmla="*/ 198596 h 425767"/>
              <a:gd name="connsiteX53" fmla="*/ 194120 w 425767"/>
              <a:gd name="connsiteY53" fmla="*/ 194501 h 425767"/>
              <a:gd name="connsiteX54" fmla="*/ 194882 w 425767"/>
              <a:gd name="connsiteY54" fmla="*/ 188309 h 425767"/>
              <a:gd name="connsiteX55" fmla="*/ 205835 w 425767"/>
              <a:gd name="connsiteY55" fmla="*/ 187547 h 425767"/>
              <a:gd name="connsiteX56" fmla="*/ 218313 w 425767"/>
              <a:gd name="connsiteY56" fmla="*/ 180975 h 425767"/>
              <a:gd name="connsiteX57" fmla="*/ 229457 w 425767"/>
              <a:gd name="connsiteY57" fmla="*/ 183928 h 425767"/>
              <a:gd name="connsiteX58" fmla="*/ 237268 w 425767"/>
              <a:gd name="connsiteY58" fmla="*/ 192024 h 425767"/>
              <a:gd name="connsiteX59" fmla="*/ 249745 w 425767"/>
              <a:gd name="connsiteY59" fmla="*/ 194405 h 425767"/>
              <a:gd name="connsiteX60" fmla="*/ 254889 w 425767"/>
              <a:gd name="connsiteY60" fmla="*/ 187928 h 425767"/>
              <a:gd name="connsiteX61" fmla="*/ 284988 w 425767"/>
              <a:gd name="connsiteY61" fmla="*/ 181832 h 425767"/>
              <a:gd name="connsiteX62" fmla="*/ 283464 w 425767"/>
              <a:gd name="connsiteY62" fmla="*/ 172307 h 425767"/>
              <a:gd name="connsiteX63" fmla="*/ 273272 w 425767"/>
              <a:gd name="connsiteY63" fmla="*/ 172307 h 425767"/>
              <a:gd name="connsiteX64" fmla="*/ 274511 w 425767"/>
              <a:gd name="connsiteY64" fmla="*/ 156020 h 425767"/>
              <a:gd name="connsiteX65" fmla="*/ 291465 w 425767"/>
              <a:gd name="connsiteY65" fmla="*/ 156496 h 425767"/>
              <a:gd name="connsiteX66" fmla="*/ 295847 w 425767"/>
              <a:gd name="connsiteY66" fmla="*/ 154781 h 425767"/>
              <a:gd name="connsiteX67" fmla="*/ 288417 w 425767"/>
              <a:gd name="connsiteY67" fmla="*/ 147733 h 425767"/>
              <a:gd name="connsiteX68" fmla="*/ 286226 w 425767"/>
              <a:gd name="connsiteY68" fmla="*/ 138208 h 425767"/>
              <a:gd name="connsiteX69" fmla="*/ 280130 w 425767"/>
              <a:gd name="connsiteY69" fmla="*/ 149066 h 425767"/>
              <a:gd name="connsiteX70" fmla="*/ 273177 w 425767"/>
              <a:gd name="connsiteY70" fmla="*/ 145542 h 425767"/>
              <a:gd name="connsiteX71" fmla="*/ 265748 w 425767"/>
              <a:gd name="connsiteY71" fmla="*/ 146876 h 425767"/>
              <a:gd name="connsiteX72" fmla="*/ 265748 w 425767"/>
              <a:gd name="connsiteY72" fmla="*/ 159068 h 425767"/>
              <a:gd name="connsiteX73" fmla="*/ 262128 w 425767"/>
              <a:gd name="connsiteY73" fmla="*/ 167735 h 425767"/>
              <a:gd name="connsiteX74" fmla="*/ 260128 w 425767"/>
              <a:gd name="connsiteY74" fmla="*/ 172593 h 425767"/>
              <a:gd name="connsiteX75" fmla="*/ 249269 w 425767"/>
              <a:gd name="connsiteY75" fmla="*/ 169736 h 425767"/>
              <a:gd name="connsiteX76" fmla="*/ 239078 w 425767"/>
              <a:gd name="connsiteY76" fmla="*/ 160211 h 425767"/>
              <a:gd name="connsiteX77" fmla="*/ 242411 w 425767"/>
              <a:gd name="connsiteY77" fmla="*/ 173069 h 425767"/>
              <a:gd name="connsiteX78" fmla="*/ 238030 w 425767"/>
              <a:gd name="connsiteY78" fmla="*/ 176213 h 425767"/>
              <a:gd name="connsiteX79" fmla="*/ 240125 w 425767"/>
              <a:gd name="connsiteY79" fmla="*/ 170498 h 425767"/>
              <a:gd name="connsiteX80" fmla="*/ 222123 w 425767"/>
              <a:gd name="connsiteY80" fmla="*/ 158591 h 425767"/>
              <a:gd name="connsiteX81" fmla="*/ 211741 w 425767"/>
              <a:gd name="connsiteY81" fmla="*/ 165449 h 425767"/>
              <a:gd name="connsiteX82" fmla="*/ 204026 w 425767"/>
              <a:gd name="connsiteY82" fmla="*/ 170212 h 425767"/>
              <a:gd name="connsiteX83" fmla="*/ 201358 w 425767"/>
              <a:gd name="connsiteY83" fmla="*/ 184023 h 425767"/>
              <a:gd name="connsiteX84" fmla="*/ 185738 w 425767"/>
              <a:gd name="connsiteY84" fmla="*/ 181928 h 425767"/>
              <a:gd name="connsiteX85" fmla="*/ 189452 w 425767"/>
              <a:gd name="connsiteY85" fmla="*/ 164116 h 425767"/>
              <a:gd name="connsiteX86" fmla="*/ 201740 w 425767"/>
              <a:gd name="connsiteY86" fmla="*/ 161925 h 425767"/>
              <a:gd name="connsiteX87" fmla="*/ 192215 w 425767"/>
              <a:gd name="connsiteY87" fmla="*/ 147542 h 425767"/>
              <a:gd name="connsiteX88" fmla="*/ 205169 w 425767"/>
              <a:gd name="connsiteY88" fmla="*/ 138779 h 425767"/>
              <a:gd name="connsiteX89" fmla="*/ 212693 w 425767"/>
              <a:gd name="connsiteY89" fmla="*/ 128588 h 425767"/>
              <a:gd name="connsiteX90" fmla="*/ 209645 w 425767"/>
              <a:gd name="connsiteY90" fmla="*/ 117920 h 425767"/>
              <a:gd name="connsiteX91" fmla="*/ 214217 w 425767"/>
              <a:gd name="connsiteY91" fmla="*/ 117920 h 425767"/>
              <a:gd name="connsiteX92" fmla="*/ 221075 w 425767"/>
              <a:gd name="connsiteY92" fmla="*/ 124968 h 425767"/>
              <a:gd name="connsiteX93" fmla="*/ 241364 w 425767"/>
              <a:gd name="connsiteY93" fmla="*/ 117920 h 425767"/>
              <a:gd name="connsiteX94" fmla="*/ 243650 w 425767"/>
              <a:gd name="connsiteY94" fmla="*/ 109157 h 425767"/>
              <a:gd name="connsiteX95" fmla="*/ 251555 w 425767"/>
              <a:gd name="connsiteY95" fmla="*/ 95250 h 425767"/>
              <a:gd name="connsiteX96" fmla="*/ 239078 w 425767"/>
              <a:gd name="connsiteY96" fmla="*/ 88202 h 425767"/>
              <a:gd name="connsiteX97" fmla="*/ 230600 w 425767"/>
              <a:gd name="connsiteY97" fmla="*/ 94298 h 425767"/>
              <a:gd name="connsiteX98" fmla="*/ 234506 w 425767"/>
              <a:gd name="connsiteY98" fmla="*/ 106013 h 425767"/>
              <a:gd name="connsiteX99" fmla="*/ 229648 w 425767"/>
              <a:gd name="connsiteY99" fmla="*/ 116777 h 425767"/>
              <a:gd name="connsiteX100" fmla="*/ 211741 w 425767"/>
              <a:gd name="connsiteY100" fmla="*/ 113252 h 425767"/>
              <a:gd name="connsiteX101" fmla="*/ 205835 w 425767"/>
              <a:gd name="connsiteY101" fmla="*/ 101251 h 425767"/>
              <a:gd name="connsiteX102" fmla="*/ 224409 w 425767"/>
              <a:gd name="connsiteY102" fmla="*/ 76200 h 425767"/>
              <a:gd name="connsiteX103" fmla="*/ 242697 w 425767"/>
              <a:gd name="connsiteY103" fmla="*/ 55626 h 425767"/>
              <a:gd name="connsiteX104" fmla="*/ 257270 w 425767"/>
              <a:gd name="connsiteY104" fmla="*/ 57150 h 425767"/>
              <a:gd name="connsiteX105" fmla="*/ 270986 w 425767"/>
              <a:gd name="connsiteY105" fmla="*/ 60103 h 425767"/>
              <a:gd name="connsiteX106" fmla="*/ 277844 w 425767"/>
              <a:gd name="connsiteY106" fmla="*/ 64008 h 425767"/>
              <a:gd name="connsiteX107" fmla="*/ 270034 w 425767"/>
              <a:gd name="connsiteY107" fmla="*/ 70104 h 425767"/>
              <a:gd name="connsiteX108" fmla="*/ 274034 w 425767"/>
              <a:gd name="connsiteY108" fmla="*/ 79153 h 425767"/>
              <a:gd name="connsiteX109" fmla="*/ 286607 w 425767"/>
              <a:gd name="connsiteY109" fmla="*/ 68866 h 425767"/>
              <a:gd name="connsiteX110" fmla="*/ 291370 w 425767"/>
              <a:gd name="connsiteY110" fmla="*/ 57531 h 425767"/>
              <a:gd name="connsiteX111" fmla="*/ 293561 w 425767"/>
              <a:gd name="connsiteY111" fmla="*/ 59627 h 425767"/>
              <a:gd name="connsiteX112" fmla="*/ 296132 w 425767"/>
              <a:gd name="connsiteY112" fmla="*/ 66675 h 425767"/>
              <a:gd name="connsiteX113" fmla="*/ 317945 w 425767"/>
              <a:gd name="connsiteY113" fmla="*/ 53626 h 425767"/>
              <a:gd name="connsiteX114" fmla="*/ 322231 w 425767"/>
              <a:gd name="connsiteY114" fmla="*/ 49054 h 425767"/>
              <a:gd name="connsiteX115" fmla="*/ 409670 w 425767"/>
              <a:gd name="connsiteY115" fmla="*/ 204407 h 425767"/>
              <a:gd name="connsiteX116" fmla="*/ 162496 w 425767"/>
              <a:gd name="connsiteY116" fmla="*/ 132779 h 425767"/>
              <a:gd name="connsiteX117" fmla="*/ 169640 w 425767"/>
              <a:gd name="connsiteY117" fmla="*/ 132779 h 425767"/>
              <a:gd name="connsiteX118" fmla="*/ 174974 w 425767"/>
              <a:gd name="connsiteY118" fmla="*/ 138113 h 425767"/>
              <a:gd name="connsiteX119" fmla="*/ 184499 w 425767"/>
              <a:gd name="connsiteY119" fmla="*/ 160782 h 425767"/>
              <a:gd name="connsiteX120" fmla="*/ 169640 w 425767"/>
              <a:gd name="connsiteY120" fmla="*/ 160782 h 425767"/>
              <a:gd name="connsiteX121" fmla="*/ 169640 w 425767"/>
              <a:gd name="connsiteY121" fmla="*/ 148304 h 425767"/>
              <a:gd name="connsiteX122" fmla="*/ 113157 w 425767"/>
              <a:gd name="connsiteY122" fmla="*/ 94107 h 425767"/>
              <a:gd name="connsiteX123" fmla="*/ 117729 w 425767"/>
              <a:gd name="connsiteY123" fmla="*/ 85725 h 425767"/>
              <a:gd name="connsiteX124" fmla="*/ 113538 w 425767"/>
              <a:gd name="connsiteY124" fmla="*/ 77629 h 425767"/>
              <a:gd name="connsiteX125" fmla="*/ 104870 w 425767"/>
              <a:gd name="connsiteY125" fmla="*/ 80486 h 425767"/>
              <a:gd name="connsiteX126" fmla="*/ 104870 w 425767"/>
              <a:gd name="connsiteY126" fmla="*/ 71914 h 425767"/>
              <a:gd name="connsiteX127" fmla="*/ 87535 w 425767"/>
              <a:gd name="connsiteY127" fmla="*/ 61246 h 425767"/>
              <a:gd name="connsiteX128" fmla="*/ 155448 w 425767"/>
              <a:gd name="connsiteY128" fmla="*/ 24670 h 425767"/>
              <a:gd name="connsiteX129" fmla="*/ 166878 w 425767"/>
              <a:gd name="connsiteY129" fmla="*/ 26575 h 425767"/>
              <a:gd name="connsiteX130" fmla="*/ 181070 w 425767"/>
              <a:gd name="connsiteY130" fmla="*/ 21717 h 425767"/>
              <a:gd name="connsiteX131" fmla="*/ 190595 w 425767"/>
              <a:gd name="connsiteY131" fmla="*/ 21717 h 425767"/>
              <a:gd name="connsiteX132" fmla="*/ 177165 w 425767"/>
              <a:gd name="connsiteY132" fmla="*/ 33147 h 425767"/>
              <a:gd name="connsiteX133" fmla="*/ 173927 w 425767"/>
              <a:gd name="connsiteY133" fmla="*/ 40958 h 425767"/>
              <a:gd name="connsiteX134" fmla="*/ 178975 w 425767"/>
              <a:gd name="connsiteY134" fmla="*/ 44482 h 425767"/>
              <a:gd name="connsiteX135" fmla="*/ 175546 w 425767"/>
              <a:gd name="connsiteY135" fmla="*/ 49054 h 425767"/>
              <a:gd name="connsiteX136" fmla="*/ 175546 w 425767"/>
              <a:gd name="connsiteY136" fmla="*/ 57150 h 425767"/>
              <a:gd name="connsiteX137" fmla="*/ 177927 w 425767"/>
              <a:gd name="connsiteY137" fmla="*/ 70295 h 425767"/>
              <a:gd name="connsiteX138" fmla="*/ 165068 w 425767"/>
              <a:gd name="connsiteY138" fmla="*/ 66675 h 425767"/>
              <a:gd name="connsiteX139" fmla="*/ 169355 w 425767"/>
              <a:gd name="connsiteY139" fmla="*/ 79534 h 425767"/>
              <a:gd name="connsiteX140" fmla="*/ 158591 w 425767"/>
              <a:gd name="connsiteY140" fmla="*/ 86392 h 425767"/>
              <a:gd name="connsiteX141" fmla="*/ 147447 w 425767"/>
              <a:gd name="connsiteY141" fmla="*/ 95250 h 425767"/>
              <a:gd name="connsiteX142" fmla="*/ 136684 w 425767"/>
              <a:gd name="connsiteY142" fmla="*/ 104775 h 425767"/>
              <a:gd name="connsiteX143" fmla="*/ 133445 w 425767"/>
              <a:gd name="connsiteY143" fmla="*/ 117920 h 425767"/>
              <a:gd name="connsiteX144" fmla="*/ 118872 w 425767"/>
              <a:gd name="connsiteY144" fmla="*/ 109347 h 425767"/>
              <a:gd name="connsiteX145" fmla="*/ 113062 w 425767"/>
              <a:gd name="connsiteY145" fmla="*/ 99822 h 425767"/>
              <a:gd name="connsiteX146" fmla="*/ 116205 w 425767"/>
              <a:gd name="connsiteY146" fmla="*/ 97346 h 425767"/>
              <a:gd name="connsiteX147" fmla="*/ 29337 w 425767"/>
              <a:gd name="connsiteY147" fmla="*/ 142875 h 425767"/>
              <a:gd name="connsiteX148" fmla="*/ 34480 w 425767"/>
              <a:gd name="connsiteY148" fmla="*/ 148971 h 425767"/>
              <a:gd name="connsiteX149" fmla="*/ 40195 w 425767"/>
              <a:gd name="connsiteY149" fmla="*/ 145542 h 425767"/>
              <a:gd name="connsiteX150" fmla="*/ 59245 w 425767"/>
              <a:gd name="connsiteY150" fmla="*/ 156972 h 425767"/>
              <a:gd name="connsiteX151" fmla="*/ 67818 w 425767"/>
              <a:gd name="connsiteY151" fmla="*/ 163830 h 425767"/>
              <a:gd name="connsiteX152" fmla="*/ 63056 w 425767"/>
              <a:gd name="connsiteY152" fmla="*/ 152400 h 425767"/>
              <a:gd name="connsiteX153" fmla="*/ 67628 w 425767"/>
              <a:gd name="connsiteY153" fmla="*/ 141542 h 425767"/>
              <a:gd name="connsiteX154" fmla="*/ 59626 w 425767"/>
              <a:gd name="connsiteY154" fmla="*/ 134588 h 425767"/>
              <a:gd name="connsiteX155" fmla="*/ 65341 w 425767"/>
              <a:gd name="connsiteY155" fmla="*/ 122587 h 425767"/>
              <a:gd name="connsiteX156" fmla="*/ 81343 w 425767"/>
              <a:gd name="connsiteY156" fmla="*/ 126683 h 425767"/>
              <a:gd name="connsiteX157" fmla="*/ 80296 w 425767"/>
              <a:gd name="connsiteY157" fmla="*/ 131445 h 425767"/>
              <a:gd name="connsiteX158" fmla="*/ 90964 w 425767"/>
              <a:gd name="connsiteY158" fmla="*/ 127159 h 425767"/>
              <a:gd name="connsiteX159" fmla="*/ 101727 w 425767"/>
              <a:gd name="connsiteY159" fmla="*/ 138684 h 425767"/>
              <a:gd name="connsiteX160" fmla="*/ 111252 w 425767"/>
              <a:gd name="connsiteY160" fmla="*/ 144399 h 425767"/>
              <a:gd name="connsiteX161" fmla="*/ 108394 w 425767"/>
              <a:gd name="connsiteY161" fmla="*/ 161925 h 425767"/>
              <a:gd name="connsiteX162" fmla="*/ 89344 w 425767"/>
              <a:gd name="connsiteY162" fmla="*/ 165926 h 425767"/>
              <a:gd name="connsiteX163" fmla="*/ 101632 w 425767"/>
              <a:gd name="connsiteY163" fmla="*/ 175451 h 425767"/>
              <a:gd name="connsiteX164" fmla="*/ 104013 w 425767"/>
              <a:gd name="connsiteY164" fmla="*/ 185928 h 425767"/>
              <a:gd name="connsiteX165" fmla="*/ 96965 w 425767"/>
              <a:gd name="connsiteY165" fmla="*/ 184118 h 425767"/>
              <a:gd name="connsiteX166" fmla="*/ 89630 w 425767"/>
              <a:gd name="connsiteY166" fmla="*/ 186309 h 425767"/>
              <a:gd name="connsiteX167" fmla="*/ 83820 w 425767"/>
              <a:gd name="connsiteY167" fmla="*/ 191167 h 425767"/>
              <a:gd name="connsiteX168" fmla="*/ 78772 w 425767"/>
              <a:gd name="connsiteY168" fmla="*/ 201263 h 425767"/>
              <a:gd name="connsiteX169" fmla="*/ 80010 w 425767"/>
              <a:gd name="connsiteY169" fmla="*/ 211931 h 425767"/>
              <a:gd name="connsiteX170" fmla="*/ 70485 w 425767"/>
              <a:gd name="connsiteY170" fmla="*/ 226695 h 425767"/>
              <a:gd name="connsiteX171" fmla="*/ 73152 w 425767"/>
              <a:gd name="connsiteY171" fmla="*/ 237363 h 425767"/>
              <a:gd name="connsiteX172" fmla="*/ 71247 w 425767"/>
              <a:gd name="connsiteY172" fmla="*/ 239459 h 425767"/>
              <a:gd name="connsiteX173" fmla="*/ 61722 w 425767"/>
              <a:gd name="connsiteY173" fmla="*/ 234696 h 425767"/>
              <a:gd name="connsiteX174" fmla="*/ 50959 w 425767"/>
              <a:gd name="connsiteY174" fmla="*/ 236696 h 425767"/>
              <a:gd name="connsiteX175" fmla="*/ 48292 w 425767"/>
              <a:gd name="connsiteY175" fmla="*/ 244031 h 425767"/>
              <a:gd name="connsiteX176" fmla="*/ 41148 w 425767"/>
              <a:gd name="connsiteY176" fmla="*/ 260985 h 425767"/>
              <a:gd name="connsiteX177" fmla="*/ 48768 w 425767"/>
              <a:gd name="connsiteY177" fmla="*/ 265081 h 425767"/>
              <a:gd name="connsiteX178" fmla="*/ 53531 w 425767"/>
              <a:gd name="connsiteY178" fmla="*/ 256985 h 425767"/>
              <a:gd name="connsiteX179" fmla="*/ 59626 w 425767"/>
              <a:gd name="connsiteY179" fmla="*/ 255937 h 425767"/>
              <a:gd name="connsiteX180" fmla="*/ 59626 w 425767"/>
              <a:gd name="connsiteY180" fmla="*/ 268510 h 425767"/>
              <a:gd name="connsiteX181" fmla="*/ 66866 w 425767"/>
              <a:gd name="connsiteY181" fmla="*/ 268510 h 425767"/>
              <a:gd name="connsiteX182" fmla="*/ 70866 w 425767"/>
              <a:gd name="connsiteY182" fmla="*/ 274796 h 425767"/>
              <a:gd name="connsiteX183" fmla="*/ 80391 w 425767"/>
              <a:gd name="connsiteY183" fmla="*/ 278321 h 425767"/>
              <a:gd name="connsiteX184" fmla="*/ 89916 w 425767"/>
              <a:gd name="connsiteY184" fmla="*/ 286512 h 425767"/>
              <a:gd name="connsiteX185" fmla="*/ 92488 w 425767"/>
              <a:gd name="connsiteY185" fmla="*/ 280702 h 425767"/>
              <a:gd name="connsiteX186" fmla="*/ 112586 w 425767"/>
              <a:gd name="connsiteY186" fmla="*/ 278321 h 425767"/>
              <a:gd name="connsiteX187" fmla="*/ 138017 w 425767"/>
              <a:gd name="connsiteY187" fmla="*/ 286131 h 425767"/>
              <a:gd name="connsiteX188" fmla="*/ 148781 w 425767"/>
              <a:gd name="connsiteY188" fmla="*/ 305753 h 425767"/>
              <a:gd name="connsiteX189" fmla="*/ 181737 w 425767"/>
              <a:gd name="connsiteY189" fmla="*/ 309658 h 425767"/>
              <a:gd name="connsiteX190" fmla="*/ 185261 w 425767"/>
              <a:gd name="connsiteY190" fmla="*/ 320421 h 425767"/>
              <a:gd name="connsiteX191" fmla="*/ 179165 w 425767"/>
              <a:gd name="connsiteY191" fmla="*/ 358521 h 425767"/>
              <a:gd name="connsiteX192" fmla="*/ 162211 w 425767"/>
              <a:gd name="connsiteY192" fmla="*/ 383381 h 425767"/>
              <a:gd name="connsiteX193" fmla="*/ 156591 w 425767"/>
              <a:gd name="connsiteY193" fmla="*/ 401384 h 425767"/>
              <a:gd name="connsiteX194" fmla="*/ 116872 w 425767"/>
              <a:gd name="connsiteY194" fmla="*/ 384620 h 425767"/>
              <a:gd name="connsiteX195" fmla="*/ 116872 w 425767"/>
              <a:gd name="connsiteY195" fmla="*/ 361093 h 425767"/>
              <a:gd name="connsiteX196" fmla="*/ 97250 w 425767"/>
              <a:gd name="connsiteY196" fmla="*/ 350711 h 425767"/>
              <a:gd name="connsiteX197" fmla="*/ 84487 w 425767"/>
              <a:gd name="connsiteY197" fmla="*/ 329184 h 425767"/>
              <a:gd name="connsiteX198" fmla="*/ 84487 w 425767"/>
              <a:gd name="connsiteY198" fmla="*/ 300133 h 425767"/>
              <a:gd name="connsiteX199" fmla="*/ 87916 w 425767"/>
              <a:gd name="connsiteY199" fmla="*/ 292418 h 425767"/>
              <a:gd name="connsiteX200" fmla="*/ 84487 w 425767"/>
              <a:gd name="connsiteY200" fmla="*/ 287750 h 425767"/>
              <a:gd name="connsiteX201" fmla="*/ 69723 w 425767"/>
              <a:gd name="connsiteY201" fmla="*/ 283845 h 425767"/>
              <a:gd name="connsiteX202" fmla="*/ 64198 w 425767"/>
              <a:gd name="connsiteY202" fmla="*/ 278892 h 425767"/>
              <a:gd name="connsiteX203" fmla="*/ 45148 w 425767"/>
              <a:gd name="connsiteY203" fmla="*/ 271748 h 425767"/>
              <a:gd name="connsiteX204" fmla="*/ 23717 w 425767"/>
              <a:gd name="connsiteY204" fmla="*/ 265462 h 425767"/>
              <a:gd name="connsiteX205" fmla="*/ 29337 w 425767"/>
              <a:gd name="connsiteY205" fmla="*/ 142875 h 4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425767" h="425767">
                <a:moveTo>
                  <a:pt x="212979" y="0"/>
                </a:moveTo>
                <a:cubicBezTo>
                  <a:pt x="95407" y="-53"/>
                  <a:pt x="53" y="95216"/>
                  <a:pt x="0" y="212789"/>
                </a:cubicBezTo>
                <a:cubicBezTo>
                  <a:pt x="-53" y="330361"/>
                  <a:pt x="95216" y="425715"/>
                  <a:pt x="212789" y="425768"/>
                </a:cubicBezTo>
                <a:cubicBezTo>
                  <a:pt x="330361" y="425820"/>
                  <a:pt x="425715" y="330551"/>
                  <a:pt x="425767" y="212979"/>
                </a:cubicBezTo>
                <a:cubicBezTo>
                  <a:pt x="425767" y="212947"/>
                  <a:pt x="425768" y="212916"/>
                  <a:pt x="425768" y="212884"/>
                </a:cubicBezTo>
                <a:cubicBezTo>
                  <a:pt x="425663" y="95392"/>
                  <a:pt x="330471" y="158"/>
                  <a:pt x="212979" y="0"/>
                </a:cubicBezTo>
                <a:close/>
                <a:moveTo>
                  <a:pt x="409670" y="204407"/>
                </a:moveTo>
                <a:lnTo>
                  <a:pt x="406908" y="204407"/>
                </a:lnTo>
                <a:lnTo>
                  <a:pt x="393764" y="216218"/>
                </a:lnTo>
                <a:lnTo>
                  <a:pt x="390620" y="225743"/>
                </a:lnTo>
                <a:lnTo>
                  <a:pt x="389763" y="234410"/>
                </a:lnTo>
                <a:lnTo>
                  <a:pt x="376428" y="219075"/>
                </a:lnTo>
                <a:lnTo>
                  <a:pt x="370713" y="200597"/>
                </a:lnTo>
                <a:lnTo>
                  <a:pt x="364998" y="200597"/>
                </a:lnTo>
                <a:lnTo>
                  <a:pt x="354521" y="192024"/>
                </a:lnTo>
                <a:lnTo>
                  <a:pt x="343567" y="194501"/>
                </a:lnTo>
                <a:lnTo>
                  <a:pt x="332804" y="191262"/>
                </a:lnTo>
                <a:lnTo>
                  <a:pt x="320897" y="189929"/>
                </a:lnTo>
                <a:lnTo>
                  <a:pt x="314420" y="183071"/>
                </a:lnTo>
                <a:lnTo>
                  <a:pt x="308229" y="186023"/>
                </a:lnTo>
                <a:lnTo>
                  <a:pt x="322326" y="201073"/>
                </a:lnTo>
                <a:lnTo>
                  <a:pt x="334328" y="199073"/>
                </a:lnTo>
                <a:lnTo>
                  <a:pt x="339852" y="207264"/>
                </a:lnTo>
                <a:lnTo>
                  <a:pt x="330327" y="223361"/>
                </a:lnTo>
                <a:lnTo>
                  <a:pt x="310706" y="230410"/>
                </a:lnTo>
                <a:lnTo>
                  <a:pt x="302705" y="217551"/>
                </a:lnTo>
                <a:lnTo>
                  <a:pt x="290798" y="206597"/>
                </a:lnTo>
                <a:lnTo>
                  <a:pt x="283559" y="195167"/>
                </a:lnTo>
                <a:lnTo>
                  <a:pt x="283559" y="210979"/>
                </a:lnTo>
                <a:lnTo>
                  <a:pt x="312134" y="239554"/>
                </a:lnTo>
                <a:lnTo>
                  <a:pt x="326612" y="234601"/>
                </a:lnTo>
                <a:lnTo>
                  <a:pt x="327279" y="245555"/>
                </a:lnTo>
                <a:lnTo>
                  <a:pt x="312134" y="281845"/>
                </a:lnTo>
                <a:lnTo>
                  <a:pt x="314039" y="314420"/>
                </a:lnTo>
                <a:lnTo>
                  <a:pt x="303086" y="320993"/>
                </a:lnTo>
                <a:lnTo>
                  <a:pt x="310039" y="336423"/>
                </a:lnTo>
                <a:lnTo>
                  <a:pt x="302133" y="349758"/>
                </a:lnTo>
                <a:lnTo>
                  <a:pt x="291370" y="369284"/>
                </a:lnTo>
                <a:lnTo>
                  <a:pt x="275749" y="374333"/>
                </a:lnTo>
                <a:lnTo>
                  <a:pt x="267081" y="344138"/>
                </a:lnTo>
                <a:lnTo>
                  <a:pt x="254984" y="320993"/>
                </a:lnTo>
                <a:lnTo>
                  <a:pt x="254984" y="304229"/>
                </a:lnTo>
                <a:lnTo>
                  <a:pt x="240411" y="282512"/>
                </a:lnTo>
                <a:lnTo>
                  <a:pt x="241554" y="269272"/>
                </a:lnTo>
                <a:lnTo>
                  <a:pt x="233077" y="271558"/>
                </a:lnTo>
                <a:lnTo>
                  <a:pt x="227362" y="265176"/>
                </a:lnTo>
                <a:lnTo>
                  <a:pt x="201358" y="276225"/>
                </a:lnTo>
                <a:lnTo>
                  <a:pt x="189357" y="262604"/>
                </a:lnTo>
                <a:lnTo>
                  <a:pt x="181070" y="252317"/>
                </a:lnTo>
                <a:lnTo>
                  <a:pt x="181070" y="238125"/>
                </a:lnTo>
                <a:lnTo>
                  <a:pt x="178118" y="228600"/>
                </a:lnTo>
                <a:lnTo>
                  <a:pt x="190595" y="204978"/>
                </a:lnTo>
                <a:lnTo>
                  <a:pt x="189643" y="198596"/>
                </a:lnTo>
                <a:lnTo>
                  <a:pt x="194120" y="194501"/>
                </a:lnTo>
                <a:lnTo>
                  <a:pt x="194882" y="188309"/>
                </a:lnTo>
                <a:lnTo>
                  <a:pt x="205835" y="187547"/>
                </a:lnTo>
                <a:lnTo>
                  <a:pt x="218313" y="180975"/>
                </a:lnTo>
                <a:lnTo>
                  <a:pt x="229457" y="183928"/>
                </a:lnTo>
                <a:lnTo>
                  <a:pt x="237268" y="192024"/>
                </a:lnTo>
                <a:lnTo>
                  <a:pt x="249745" y="194405"/>
                </a:lnTo>
                <a:lnTo>
                  <a:pt x="254889" y="187928"/>
                </a:lnTo>
                <a:lnTo>
                  <a:pt x="284988" y="181832"/>
                </a:lnTo>
                <a:lnTo>
                  <a:pt x="283464" y="172307"/>
                </a:lnTo>
                <a:lnTo>
                  <a:pt x="273272" y="172307"/>
                </a:lnTo>
                <a:lnTo>
                  <a:pt x="274511" y="156020"/>
                </a:lnTo>
                <a:lnTo>
                  <a:pt x="291465" y="156496"/>
                </a:lnTo>
                <a:lnTo>
                  <a:pt x="295847" y="154781"/>
                </a:lnTo>
                <a:lnTo>
                  <a:pt x="288417" y="147733"/>
                </a:lnTo>
                <a:lnTo>
                  <a:pt x="286226" y="138208"/>
                </a:lnTo>
                <a:lnTo>
                  <a:pt x="280130" y="149066"/>
                </a:lnTo>
                <a:lnTo>
                  <a:pt x="273177" y="145542"/>
                </a:lnTo>
                <a:lnTo>
                  <a:pt x="265748" y="146876"/>
                </a:lnTo>
                <a:lnTo>
                  <a:pt x="265748" y="159068"/>
                </a:lnTo>
                <a:lnTo>
                  <a:pt x="262128" y="167735"/>
                </a:lnTo>
                <a:lnTo>
                  <a:pt x="260128" y="172593"/>
                </a:lnTo>
                <a:lnTo>
                  <a:pt x="249269" y="169736"/>
                </a:lnTo>
                <a:lnTo>
                  <a:pt x="239078" y="160211"/>
                </a:lnTo>
                <a:lnTo>
                  <a:pt x="242411" y="173069"/>
                </a:lnTo>
                <a:lnTo>
                  <a:pt x="238030" y="176213"/>
                </a:lnTo>
                <a:lnTo>
                  <a:pt x="240125" y="170498"/>
                </a:lnTo>
                <a:lnTo>
                  <a:pt x="222123" y="158591"/>
                </a:lnTo>
                <a:lnTo>
                  <a:pt x="211741" y="165449"/>
                </a:lnTo>
                <a:lnTo>
                  <a:pt x="204026" y="170212"/>
                </a:lnTo>
                <a:lnTo>
                  <a:pt x="201358" y="184023"/>
                </a:lnTo>
                <a:lnTo>
                  <a:pt x="185738" y="181928"/>
                </a:lnTo>
                <a:lnTo>
                  <a:pt x="189452" y="164116"/>
                </a:lnTo>
                <a:lnTo>
                  <a:pt x="201740" y="161925"/>
                </a:lnTo>
                <a:lnTo>
                  <a:pt x="192215" y="147542"/>
                </a:lnTo>
                <a:lnTo>
                  <a:pt x="205169" y="138779"/>
                </a:lnTo>
                <a:lnTo>
                  <a:pt x="212693" y="128588"/>
                </a:lnTo>
                <a:lnTo>
                  <a:pt x="209645" y="117920"/>
                </a:lnTo>
                <a:lnTo>
                  <a:pt x="214217" y="117920"/>
                </a:lnTo>
                <a:lnTo>
                  <a:pt x="221075" y="124968"/>
                </a:lnTo>
                <a:lnTo>
                  <a:pt x="241364" y="117920"/>
                </a:lnTo>
                <a:lnTo>
                  <a:pt x="243650" y="109157"/>
                </a:lnTo>
                <a:lnTo>
                  <a:pt x="251555" y="95250"/>
                </a:lnTo>
                <a:lnTo>
                  <a:pt x="239078" y="88202"/>
                </a:lnTo>
                <a:lnTo>
                  <a:pt x="230600" y="94298"/>
                </a:lnTo>
                <a:lnTo>
                  <a:pt x="234506" y="106013"/>
                </a:lnTo>
                <a:lnTo>
                  <a:pt x="229648" y="116777"/>
                </a:lnTo>
                <a:lnTo>
                  <a:pt x="211741" y="113252"/>
                </a:lnTo>
                <a:lnTo>
                  <a:pt x="205835" y="101251"/>
                </a:lnTo>
                <a:lnTo>
                  <a:pt x="224409" y="76200"/>
                </a:lnTo>
                <a:lnTo>
                  <a:pt x="242697" y="55626"/>
                </a:lnTo>
                <a:lnTo>
                  <a:pt x="257270" y="57150"/>
                </a:lnTo>
                <a:lnTo>
                  <a:pt x="270986" y="60103"/>
                </a:lnTo>
                <a:lnTo>
                  <a:pt x="277844" y="64008"/>
                </a:lnTo>
                <a:lnTo>
                  <a:pt x="270034" y="70104"/>
                </a:lnTo>
                <a:lnTo>
                  <a:pt x="274034" y="79153"/>
                </a:lnTo>
                <a:lnTo>
                  <a:pt x="286607" y="68866"/>
                </a:lnTo>
                <a:lnTo>
                  <a:pt x="291370" y="57531"/>
                </a:lnTo>
                <a:lnTo>
                  <a:pt x="293561" y="59627"/>
                </a:lnTo>
                <a:lnTo>
                  <a:pt x="296132" y="66675"/>
                </a:lnTo>
                <a:lnTo>
                  <a:pt x="317945" y="53626"/>
                </a:lnTo>
                <a:lnTo>
                  <a:pt x="322231" y="49054"/>
                </a:lnTo>
                <a:cubicBezTo>
                  <a:pt x="374565" y="83855"/>
                  <a:pt x="407073" y="141611"/>
                  <a:pt x="409670" y="204407"/>
                </a:cubicBezTo>
                <a:close/>
                <a:moveTo>
                  <a:pt x="162496" y="132779"/>
                </a:moveTo>
                <a:lnTo>
                  <a:pt x="169640" y="132779"/>
                </a:lnTo>
                <a:lnTo>
                  <a:pt x="174974" y="138113"/>
                </a:lnTo>
                <a:lnTo>
                  <a:pt x="184499" y="160782"/>
                </a:lnTo>
                <a:lnTo>
                  <a:pt x="169640" y="160782"/>
                </a:lnTo>
                <a:lnTo>
                  <a:pt x="169640" y="148304"/>
                </a:lnTo>
                <a:close/>
                <a:moveTo>
                  <a:pt x="113157" y="94107"/>
                </a:moveTo>
                <a:lnTo>
                  <a:pt x="117729" y="85725"/>
                </a:lnTo>
                <a:lnTo>
                  <a:pt x="113538" y="77629"/>
                </a:lnTo>
                <a:lnTo>
                  <a:pt x="104870" y="80486"/>
                </a:lnTo>
                <a:lnTo>
                  <a:pt x="104870" y="71914"/>
                </a:lnTo>
                <a:lnTo>
                  <a:pt x="87535" y="61246"/>
                </a:lnTo>
                <a:cubicBezTo>
                  <a:pt x="107566" y="44734"/>
                  <a:pt x="130638" y="32308"/>
                  <a:pt x="155448" y="24670"/>
                </a:cubicBezTo>
                <a:lnTo>
                  <a:pt x="166878" y="26575"/>
                </a:lnTo>
                <a:lnTo>
                  <a:pt x="181070" y="21717"/>
                </a:lnTo>
                <a:lnTo>
                  <a:pt x="190595" y="21717"/>
                </a:lnTo>
                <a:lnTo>
                  <a:pt x="177165" y="33147"/>
                </a:lnTo>
                <a:lnTo>
                  <a:pt x="173927" y="40958"/>
                </a:lnTo>
                <a:lnTo>
                  <a:pt x="178975" y="44482"/>
                </a:lnTo>
                <a:lnTo>
                  <a:pt x="175546" y="49054"/>
                </a:lnTo>
                <a:lnTo>
                  <a:pt x="175546" y="57150"/>
                </a:lnTo>
                <a:lnTo>
                  <a:pt x="177927" y="70295"/>
                </a:lnTo>
                <a:lnTo>
                  <a:pt x="165068" y="66675"/>
                </a:lnTo>
                <a:lnTo>
                  <a:pt x="169355" y="79534"/>
                </a:lnTo>
                <a:lnTo>
                  <a:pt x="158591" y="86392"/>
                </a:lnTo>
                <a:lnTo>
                  <a:pt x="147447" y="95250"/>
                </a:lnTo>
                <a:lnTo>
                  <a:pt x="136684" y="104775"/>
                </a:lnTo>
                <a:lnTo>
                  <a:pt x="133445" y="117920"/>
                </a:lnTo>
                <a:lnTo>
                  <a:pt x="118872" y="109347"/>
                </a:lnTo>
                <a:lnTo>
                  <a:pt x="113062" y="99822"/>
                </a:lnTo>
                <a:lnTo>
                  <a:pt x="116205" y="97346"/>
                </a:lnTo>
                <a:close/>
                <a:moveTo>
                  <a:pt x="29337" y="142875"/>
                </a:moveTo>
                <a:lnTo>
                  <a:pt x="34480" y="148971"/>
                </a:lnTo>
                <a:lnTo>
                  <a:pt x="40195" y="145542"/>
                </a:lnTo>
                <a:lnTo>
                  <a:pt x="59245" y="156972"/>
                </a:lnTo>
                <a:lnTo>
                  <a:pt x="67818" y="163830"/>
                </a:lnTo>
                <a:lnTo>
                  <a:pt x="63056" y="152400"/>
                </a:lnTo>
                <a:lnTo>
                  <a:pt x="67628" y="141542"/>
                </a:lnTo>
                <a:lnTo>
                  <a:pt x="59626" y="134588"/>
                </a:lnTo>
                <a:lnTo>
                  <a:pt x="65341" y="122587"/>
                </a:lnTo>
                <a:lnTo>
                  <a:pt x="81343" y="126683"/>
                </a:lnTo>
                <a:lnTo>
                  <a:pt x="80296" y="131445"/>
                </a:lnTo>
                <a:lnTo>
                  <a:pt x="90964" y="127159"/>
                </a:lnTo>
                <a:lnTo>
                  <a:pt x="101727" y="138684"/>
                </a:lnTo>
                <a:lnTo>
                  <a:pt x="111252" y="144399"/>
                </a:lnTo>
                <a:lnTo>
                  <a:pt x="108394" y="161925"/>
                </a:lnTo>
                <a:lnTo>
                  <a:pt x="89344" y="165926"/>
                </a:lnTo>
                <a:lnTo>
                  <a:pt x="101632" y="175451"/>
                </a:lnTo>
                <a:lnTo>
                  <a:pt x="104013" y="185928"/>
                </a:lnTo>
                <a:lnTo>
                  <a:pt x="96965" y="184118"/>
                </a:lnTo>
                <a:lnTo>
                  <a:pt x="89630" y="186309"/>
                </a:lnTo>
                <a:lnTo>
                  <a:pt x="83820" y="191167"/>
                </a:lnTo>
                <a:lnTo>
                  <a:pt x="78772" y="201263"/>
                </a:lnTo>
                <a:lnTo>
                  <a:pt x="80010" y="211931"/>
                </a:lnTo>
                <a:lnTo>
                  <a:pt x="70485" y="226695"/>
                </a:lnTo>
                <a:lnTo>
                  <a:pt x="73152" y="237363"/>
                </a:lnTo>
                <a:lnTo>
                  <a:pt x="71247" y="239459"/>
                </a:lnTo>
                <a:lnTo>
                  <a:pt x="61722" y="234696"/>
                </a:lnTo>
                <a:lnTo>
                  <a:pt x="50959" y="236696"/>
                </a:lnTo>
                <a:lnTo>
                  <a:pt x="48292" y="244031"/>
                </a:lnTo>
                <a:lnTo>
                  <a:pt x="41148" y="260985"/>
                </a:lnTo>
                <a:lnTo>
                  <a:pt x="48768" y="265081"/>
                </a:lnTo>
                <a:lnTo>
                  <a:pt x="53531" y="256985"/>
                </a:lnTo>
                <a:lnTo>
                  <a:pt x="59626" y="255937"/>
                </a:lnTo>
                <a:lnTo>
                  <a:pt x="59626" y="268510"/>
                </a:lnTo>
                <a:lnTo>
                  <a:pt x="66866" y="268510"/>
                </a:lnTo>
                <a:lnTo>
                  <a:pt x="70866" y="274796"/>
                </a:lnTo>
                <a:lnTo>
                  <a:pt x="80391" y="278321"/>
                </a:lnTo>
                <a:lnTo>
                  <a:pt x="89916" y="286512"/>
                </a:lnTo>
                <a:lnTo>
                  <a:pt x="92488" y="280702"/>
                </a:lnTo>
                <a:lnTo>
                  <a:pt x="112586" y="278321"/>
                </a:lnTo>
                <a:lnTo>
                  <a:pt x="138017" y="286131"/>
                </a:lnTo>
                <a:lnTo>
                  <a:pt x="148781" y="305753"/>
                </a:lnTo>
                <a:lnTo>
                  <a:pt x="181737" y="309658"/>
                </a:lnTo>
                <a:lnTo>
                  <a:pt x="185261" y="320421"/>
                </a:lnTo>
                <a:lnTo>
                  <a:pt x="179165" y="358521"/>
                </a:lnTo>
                <a:lnTo>
                  <a:pt x="162211" y="383381"/>
                </a:lnTo>
                <a:lnTo>
                  <a:pt x="156591" y="401384"/>
                </a:lnTo>
                <a:cubicBezTo>
                  <a:pt x="142772" y="397282"/>
                  <a:pt x="129451" y="391659"/>
                  <a:pt x="116872" y="384620"/>
                </a:cubicBezTo>
                <a:lnTo>
                  <a:pt x="116872" y="361093"/>
                </a:lnTo>
                <a:lnTo>
                  <a:pt x="97250" y="350711"/>
                </a:lnTo>
                <a:lnTo>
                  <a:pt x="84487" y="329184"/>
                </a:lnTo>
                <a:lnTo>
                  <a:pt x="84487" y="300133"/>
                </a:lnTo>
                <a:lnTo>
                  <a:pt x="87916" y="292418"/>
                </a:lnTo>
                <a:lnTo>
                  <a:pt x="84487" y="287750"/>
                </a:lnTo>
                <a:lnTo>
                  <a:pt x="69723" y="283845"/>
                </a:lnTo>
                <a:lnTo>
                  <a:pt x="64198" y="278892"/>
                </a:lnTo>
                <a:lnTo>
                  <a:pt x="45148" y="271748"/>
                </a:lnTo>
                <a:lnTo>
                  <a:pt x="23717" y="265462"/>
                </a:lnTo>
                <a:cubicBezTo>
                  <a:pt x="12167" y="225081"/>
                  <a:pt x="14141" y="182030"/>
                  <a:pt x="29337" y="142875"/>
                </a:cubicBezTo>
                <a:close/>
              </a:path>
            </a:pathLst>
          </a:custGeom>
          <a:solidFill>
            <a:srgbClr val="21A0D2"/>
          </a:solidFill>
          <a:ln w="9525" cap="flat">
            <a:noFill/>
            <a:prstDash val="solid"/>
            <a:miter/>
          </a:ln>
        </p:spPr>
        <p:txBody>
          <a:bodyPr rtlCol="0" anchor="ctr"/>
          <a:lstStyle/>
          <a:p>
            <a:endParaRPr lang="en-US" dirty="0"/>
          </a:p>
        </p:txBody>
      </p:sp>
      <p:grpSp>
        <p:nvGrpSpPr>
          <p:cNvPr id="39" name="Gruppieren 38">
            <a:extLst>
              <a:ext uri="{FF2B5EF4-FFF2-40B4-BE49-F238E27FC236}">
                <a16:creationId xmlns:a16="http://schemas.microsoft.com/office/drawing/2014/main" id="{6D7A234B-003D-F356-D6C9-8D1CA39DFE46}"/>
              </a:ext>
            </a:extLst>
          </p:cNvPr>
          <p:cNvGrpSpPr/>
          <p:nvPr/>
        </p:nvGrpSpPr>
        <p:grpSpPr>
          <a:xfrm>
            <a:off x="5635103" y="2718497"/>
            <a:ext cx="419216" cy="468000"/>
            <a:chOff x="2913816" y="2795255"/>
            <a:chExt cx="419216" cy="468000"/>
          </a:xfrm>
        </p:grpSpPr>
        <p:grpSp>
          <p:nvGrpSpPr>
            <p:cNvPr id="40" name="Grafik 1418">
              <a:extLst>
                <a:ext uri="{FF2B5EF4-FFF2-40B4-BE49-F238E27FC236}">
                  <a16:creationId xmlns:a16="http://schemas.microsoft.com/office/drawing/2014/main" id="{21517DA7-1FCE-B8BE-4377-530C22A4A18D}"/>
                </a:ext>
              </a:extLst>
            </p:cNvPr>
            <p:cNvGrpSpPr/>
            <p:nvPr/>
          </p:nvGrpSpPr>
          <p:grpSpPr>
            <a:xfrm>
              <a:off x="2913816" y="2897870"/>
              <a:ext cx="205978" cy="365351"/>
              <a:chOff x="6383853" y="4664392"/>
              <a:chExt cx="173987" cy="308609"/>
            </a:xfrm>
            <a:solidFill>
              <a:srgbClr val="21A0D2"/>
            </a:solidFill>
          </p:grpSpPr>
          <p:sp>
            <p:nvSpPr>
              <p:cNvPr id="51" name="Freihandform: Form 50">
                <a:extLst>
                  <a:ext uri="{FF2B5EF4-FFF2-40B4-BE49-F238E27FC236}">
                    <a16:creationId xmlns:a16="http://schemas.microsoft.com/office/drawing/2014/main" id="{A2A5B2ED-B28E-37B4-70BF-CC5A8CC9B0DA}"/>
                  </a:ext>
                </a:extLst>
              </p:cNvPr>
              <p:cNvSpPr/>
              <p:nvPr/>
            </p:nvSpPr>
            <p:spPr>
              <a:xfrm>
                <a:off x="6432232" y="4950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52" name="Freihandform: Form 51">
                <a:extLst>
                  <a:ext uri="{FF2B5EF4-FFF2-40B4-BE49-F238E27FC236}">
                    <a16:creationId xmlns:a16="http://schemas.microsoft.com/office/drawing/2014/main" id="{E7832D52-39A5-7AE5-73EF-2F39196E34DF}"/>
                  </a:ext>
                </a:extLst>
              </p:cNvPr>
              <p:cNvSpPr/>
              <p:nvPr/>
            </p:nvSpPr>
            <p:spPr>
              <a:xfrm>
                <a:off x="6473189" y="4950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53" name="Freihandform: Form 52">
                <a:extLst>
                  <a:ext uri="{FF2B5EF4-FFF2-40B4-BE49-F238E27FC236}">
                    <a16:creationId xmlns:a16="http://schemas.microsoft.com/office/drawing/2014/main" id="{97B014CB-D730-CEB6-B632-3648A94FF1CF}"/>
                  </a:ext>
                </a:extLst>
              </p:cNvPr>
              <p:cNvSpPr/>
              <p:nvPr/>
            </p:nvSpPr>
            <p:spPr>
              <a:xfrm>
                <a:off x="6383853" y="4664392"/>
                <a:ext cx="173987" cy="291464"/>
              </a:xfrm>
              <a:custGeom>
                <a:avLst/>
                <a:gdLst>
                  <a:gd name="connsiteX0" fmla="*/ 173157 w 173987"/>
                  <a:gd name="connsiteY0" fmla="*/ 114300 h 291464"/>
                  <a:gd name="connsiteX1" fmla="*/ 146487 w 173987"/>
                  <a:gd name="connsiteY1" fmla="*/ 27622 h 291464"/>
                  <a:gd name="connsiteX2" fmla="*/ 113149 w 173987"/>
                  <a:gd name="connsiteY2" fmla="*/ 0 h 291464"/>
                  <a:gd name="connsiteX3" fmla="*/ 60762 w 173987"/>
                  <a:gd name="connsiteY3" fmla="*/ 0 h 291464"/>
                  <a:gd name="connsiteX4" fmla="*/ 27424 w 173987"/>
                  <a:gd name="connsiteY4" fmla="*/ 27622 h 291464"/>
                  <a:gd name="connsiteX5" fmla="*/ 754 w 173987"/>
                  <a:gd name="connsiteY5" fmla="*/ 114300 h 291464"/>
                  <a:gd name="connsiteX6" fmla="*/ 10279 w 173987"/>
                  <a:gd name="connsiteY6" fmla="*/ 132397 h 291464"/>
                  <a:gd name="connsiteX7" fmla="*/ 14089 w 173987"/>
                  <a:gd name="connsiteY7" fmla="*/ 129540 h 291464"/>
                  <a:gd name="connsiteX8" fmla="*/ 16947 w 173987"/>
                  <a:gd name="connsiteY8" fmla="*/ 120015 h 291464"/>
                  <a:gd name="connsiteX9" fmla="*/ 18852 w 173987"/>
                  <a:gd name="connsiteY9" fmla="*/ 120967 h 291464"/>
                  <a:gd name="connsiteX10" fmla="*/ 15995 w 173987"/>
                  <a:gd name="connsiteY10" fmla="*/ 128588 h 291464"/>
                  <a:gd name="connsiteX11" fmla="*/ 16947 w 173987"/>
                  <a:gd name="connsiteY11" fmla="*/ 131445 h 291464"/>
                  <a:gd name="connsiteX12" fmla="*/ 24567 w 173987"/>
                  <a:gd name="connsiteY12" fmla="*/ 122872 h 291464"/>
                  <a:gd name="connsiteX13" fmla="*/ 48379 w 173987"/>
                  <a:gd name="connsiteY13" fmla="*/ 42863 h 291464"/>
                  <a:gd name="connsiteX14" fmla="*/ 55047 w 173987"/>
                  <a:gd name="connsiteY14" fmla="*/ 42863 h 291464"/>
                  <a:gd name="connsiteX15" fmla="*/ 14089 w 173987"/>
                  <a:gd name="connsiteY15" fmla="*/ 184785 h 291464"/>
                  <a:gd name="connsiteX16" fmla="*/ 52189 w 173987"/>
                  <a:gd name="connsiteY16" fmla="*/ 184785 h 291464"/>
                  <a:gd name="connsiteX17" fmla="*/ 52189 w 173987"/>
                  <a:gd name="connsiteY17" fmla="*/ 290513 h 291464"/>
                  <a:gd name="connsiteX18" fmla="*/ 66477 w 173987"/>
                  <a:gd name="connsiteY18" fmla="*/ 283845 h 291464"/>
                  <a:gd name="connsiteX19" fmla="*/ 80764 w 173987"/>
                  <a:gd name="connsiteY19" fmla="*/ 290513 h 291464"/>
                  <a:gd name="connsiteX20" fmla="*/ 80764 w 173987"/>
                  <a:gd name="connsiteY20" fmla="*/ 184785 h 291464"/>
                  <a:gd name="connsiteX21" fmla="*/ 92195 w 173987"/>
                  <a:gd name="connsiteY21" fmla="*/ 184785 h 291464"/>
                  <a:gd name="connsiteX22" fmla="*/ 92195 w 173987"/>
                  <a:gd name="connsiteY22" fmla="*/ 291465 h 291464"/>
                  <a:gd name="connsiteX23" fmla="*/ 107434 w 173987"/>
                  <a:gd name="connsiteY23" fmla="*/ 283845 h 291464"/>
                  <a:gd name="connsiteX24" fmla="*/ 120770 w 173987"/>
                  <a:gd name="connsiteY24" fmla="*/ 289560 h 291464"/>
                  <a:gd name="connsiteX25" fmla="*/ 120770 w 173987"/>
                  <a:gd name="connsiteY25" fmla="*/ 185738 h 291464"/>
                  <a:gd name="connsiteX26" fmla="*/ 158870 w 173987"/>
                  <a:gd name="connsiteY26" fmla="*/ 185738 h 291464"/>
                  <a:gd name="connsiteX27" fmla="*/ 117912 w 173987"/>
                  <a:gd name="connsiteY27" fmla="*/ 43815 h 291464"/>
                  <a:gd name="connsiteX28" fmla="*/ 124579 w 173987"/>
                  <a:gd name="connsiteY28" fmla="*/ 43815 h 291464"/>
                  <a:gd name="connsiteX29" fmla="*/ 148392 w 173987"/>
                  <a:gd name="connsiteY29" fmla="*/ 123825 h 291464"/>
                  <a:gd name="connsiteX30" fmla="*/ 155059 w 173987"/>
                  <a:gd name="connsiteY30" fmla="*/ 133350 h 291464"/>
                  <a:gd name="connsiteX31" fmla="*/ 156012 w 173987"/>
                  <a:gd name="connsiteY31" fmla="*/ 130492 h 291464"/>
                  <a:gd name="connsiteX32" fmla="*/ 153154 w 173987"/>
                  <a:gd name="connsiteY32" fmla="*/ 122872 h 291464"/>
                  <a:gd name="connsiteX33" fmla="*/ 155059 w 173987"/>
                  <a:gd name="connsiteY33" fmla="*/ 121920 h 291464"/>
                  <a:gd name="connsiteX34" fmla="*/ 157917 w 173987"/>
                  <a:gd name="connsiteY34" fmla="*/ 131445 h 291464"/>
                  <a:gd name="connsiteX35" fmla="*/ 162679 w 173987"/>
                  <a:gd name="connsiteY35" fmla="*/ 134302 h 291464"/>
                  <a:gd name="connsiteX36" fmla="*/ 173157 w 173987"/>
                  <a:gd name="connsiteY36" fmla="*/ 114300 h 29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3987" h="291464">
                    <a:moveTo>
                      <a:pt x="173157" y="114300"/>
                    </a:moveTo>
                    <a:lnTo>
                      <a:pt x="146487" y="27622"/>
                    </a:lnTo>
                    <a:cubicBezTo>
                      <a:pt x="143629" y="18097"/>
                      <a:pt x="134104" y="0"/>
                      <a:pt x="113149" y="0"/>
                    </a:cubicBezTo>
                    <a:lnTo>
                      <a:pt x="60762" y="0"/>
                    </a:lnTo>
                    <a:cubicBezTo>
                      <a:pt x="38854" y="0"/>
                      <a:pt x="30282" y="17145"/>
                      <a:pt x="27424" y="27622"/>
                    </a:cubicBezTo>
                    <a:lnTo>
                      <a:pt x="754" y="114300"/>
                    </a:lnTo>
                    <a:cubicBezTo>
                      <a:pt x="-2103" y="124777"/>
                      <a:pt x="3612" y="131445"/>
                      <a:pt x="10279" y="132397"/>
                    </a:cubicBezTo>
                    <a:cubicBezTo>
                      <a:pt x="12184" y="132397"/>
                      <a:pt x="14089" y="132397"/>
                      <a:pt x="14089" y="129540"/>
                    </a:cubicBezTo>
                    <a:lnTo>
                      <a:pt x="16947" y="120015"/>
                    </a:lnTo>
                    <a:lnTo>
                      <a:pt x="18852" y="120967"/>
                    </a:lnTo>
                    <a:lnTo>
                      <a:pt x="15995" y="128588"/>
                    </a:lnTo>
                    <a:cubicBezTo>
                      <a:pt x="15995" y="128588"/>
                      <a:pt x="15042" y="130492"/>
                      <a:pt x="16947" y="131445"/>
                    </a:cubicBezTo>
                    <a:cubicBezTo>
                      <a:pt x="19804" y="129540"/>
                      <a:pt x="22662" y="126682"/>
                      <a:pt x="24567" y="122872"/>
                    </a:cubicBezTo>
                    <a:lnTo>
                      <a:pt x="48379" y="42863"/>
                    </a:lnTo>
                    <a:lnTo>
                      <a:pt x="55047" y="42863"/>
                    </a:lnTo>
                    <a:lnTo>
                      <a:pt x="14089" y="184785"/>
                    </a:lnTo>
                    <a:lnTo>
                      <a:pt x="52189" y="184785"/>
                    </a:lnTo>
                    <a:lnTo>
                      <a:pt x="52189" y="290513"/>
                    </a:lnTo>
                    <a:cubicBezTo>
                      <a:pt x="55999" y="286702"/>
                      <a:pt x="60762" y="283845"/>
                      <a:pt x="66477" y="283845"/>
                    </a:cubicBezTo>
                    <a:cubicBezTo>
                      <a:pt x="72192" y="283845"/>
                      <a:pt x="76954" y="286702"/>
                      <a:pt x="80764" y="290513"/>
                    </a:cubicBezTo>
                    <a:lnTo>
                      <a:pt x="80764" y="184785"/>
                    </a:lnTo>
                    <a:lnTo>
                      <a:pt x="92195" y="184785"/>
                    </a:lnTo>
                    <a:lnTo>
                      <a:pt x="92195" y="291465"/>
                    </a:lnTo>
                    <a:cubicBezTo>
                      <a:pt x="96004" y="286702"/>
                      <a:pt x="101720" y="283845"/>
                      <a:pt x="107434" y="283845"/>
                    </a:cubicBezTo>
                    <a:cubicBezTo>
                      <a:pt x="112197" y="283845"/>
                      <a:pt x="116959" y="285750"/>
                      <a:pt x="120770" y="289560"/>
                    </a:cubicBezTo>
                    <a:lnTo>
                      <a:pt x="120770" y="185738"/>
                    </a:lnTo>
                    <a:lnTo>
                      <a:pt x="158870" y="185738"/>
                    </a:lnTo>
                    <a:lnTo>
                      <a:pt x="117912" y="43815"/>
                    </a:lnTo>
                    <a:lnTo>
                      <a:pt x="124579" y="43815"/>
                    </a:lnTo>
                    <a:lnTo>
                      <a:pt x="148392" y="123825"/>
                    </a:lnTo>
                    <a:cubicBezTo>
                      <a:pt x="150297" y="128588"/>
                      <a:pt x="152202" y="131445"/>
                      <a:pt x="155059" y="133350"/>
                    </a:cubicBezTo>
                    <a:cubicBezTo>
                      <a:pt x="156012" y="133350"/>
                      <a:pt x="156012" y="130492"/>
                      <a:pt x="156012" y="130492"/>
                    </a:cubicBezTo>
                    <a:lnTo>
                      <a:pt x="153154" y="122872"/>
                    </a:lnTo>
                    <a:lnTo>
                      <a:pt x="155059" y="121920"/>
                    </a:lnTo>
                    <a:lnTo>
                      <a:pt x="157917" y="131445"/>
                    </a:lnTo>
                    <a:cubicBezTo>
                      <a:pt x="158870" y="134302"/>
                      <a:pt x="160774" y="134302"/>
                      <a:pt x="162679" y="134302"/>
                    </a:cubicBezTo>
                    <a:cubicBezTo>
                      <a:pt x="171252" y="131445"/>
                      <a:pt x="176014" y="124777"/>
                      <a:pt x="173157" y="114300"/>
                    </a:cubicBezTo>
                    <a:close/>
                  </a:path>
                </a:pathLst>
              </a:custGeom>
              <a:grpFill/>
              <a:ln w="9525" cap="flat">
                <a:noFill/>
                <a:prstDash val="solid"/>
                <a:miter/>
              </a:ln>
            </p:spPr>
            <p:txBody>
              <a:bodyPr rtlCol="0" anchor="ctr"/>
              <a:lstStyle/>
              <a:p>
                <a:endParaRPr lang="en-US" dirty="0"/>
              </a:p>
            </p:txBody>
          </p:sp>
        </p:grpSp>
        <p:grpSp>
          <p:nvGrpSpPr>
            <p:cNvPr id="41" name="Grafik 1418">
              <a:extLst>
                <a:ext uri="{FF2B5EF4-FFF2-40B4-BE49-F238E27FC236}">
                  <a16:creationId xmlns:a16="http://schemas.microsoft.com/office/drawing/2014/main" id="{BE9D8851-7EEF-C54B-BA20-87CC6C076336}"/>
                </a:ext>
              </a:extLst>
            </p:cNvPr>
            <p:cNvGrpSpPr/>
            <p:nvPr/>
          </p:nvGrpSpPr>
          <p:grpSpPr>
            <a:xfrm>
              <a:off x="2976728" y="2795255"/>
              <a:ext cx="81190" cy="94720"/>
              <a:chOff x="6436994" y="4577714"/>
              <a:chExt cx="68580" cy="80009"/>
            </a:xfrm>
            <a:solidFill>
              <a:srgbClr val="21A0D2"/>
            </a:solidFill>
          </p:grpSpPr>
          <p:sp>
            <p:nvSpPr>
              <p:cNvPr id="49" name="Freihandform: Form 48">
                <a:extLst>
                  <a:ext uri="{FF2B5EF4-FFF2-40B4-BE49-F238E27FC236}">
                    <a16:creationId xmlns:a16="http://schemas.microsoft.com/office/drawing/2014/main" id="{5603A6B0-07B7-F90F-29D2-1A4132763460}"/>
                  </a:ext>
                </a:extLst>
              </p:cNvPr>
              <p:cNvSpPr/>
              <p:nvPr/>
            </p:nvSpPr>
            <p:spPr>
              <a:xfrm>
                <a:off x="6440805" y="4612004"/>
                <a:ext cx="60959" cy="45719"/>
              </a:xfrm>
              <a:custGeom>
                <a:avLst/>
                <a:gdLst>
                  <a:gd name="connsiteX0" fmla="*/ 3810 w 60959"/>
                  <a:gd name="connsiteY0" fmla="*/ 0 h 45719"/>
                  <a:gd name="connsiteX1" fmla="*/ 0 w 60959"/>
                  <a:gd name="connsiteY1" fmla="*/ 15240 h 45719"/>
                  <a:gd name="connsiteX2" fmla="*/ 30480 w 60959"/>
                  <a:gd name="connsiteY2" fmla="*/ 45720 h 45719"/>
                  <a:gd name="connsiteX3" fmla="*/ 60960 w 60959"/>
                  <a:gd name="connsiteY3" fmla="*/ 15240 h 45719"/>
                  <a:gd name="connsiteX4" fmla="*/ 57150 w 60959"/>
                  <a:gd name="connsiteY4" fmla="*/ 0 h 45719"/>
                  <a:gd name="connsiteX5" fmla="*/ 3810 w 60959"/>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 h="45719">
                    <a:moveTo>
                      <a:pt x="3810" y="0"/>
                    </a:moveTo>
                    <a:cubicBezTo>
                      <a:pt x="952" y="4763"/>
                      <a:pt x="0" y="9525"/>
                      <a:pt x="0" y="15240"/>
                    </a:cubicBezTo>
                    <a:cubicBezTo>
                      <a:pt x="0" y="32385"/>
                      <a:pt x="13335"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endParaRPr lang="en-US" dirty="0"/>
              </a:p>
            </p:txBody>
          </p:sp>
          <p:sp>
            <p:nvSpPr>
              <p:cNvPr id="50" name="Freihandform: Form 49">
                <a:extLst>
                  <a:ext uri="{FF2B5EF4-FFF2-40B4-BE49-F238E27FC236}">
                    <a16:creationId xmlns:a16="http://schemas.microsoft.com/office/drawing/2014/main" id="{29868302-04E4-A32C-4362-3D318AEFCC93}"/>
                  </a:ext>
                </a:extLst>
              </p:cNvPr>
              <p:cNvSpPr/>
              <p:nvPr/>
            </p:nvSpPr>
            <p:spPr>
              <a:xfrm>
                <a:off x="6436994" y="4577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endParaRPr lang="en-US" dirty="0"/>
              </a:p>
            </p:txBody>
          </p:sp>
        </p:grpSp>
        <p:grpSp>
          <p:nvGrpSpPr>
            <p:cNvPr id="42" name="Grafik 1418">
              <a:extLst>
                <a:ext uri="{FF2B5EF4-FFF2-40B4-BE49-F238E27FC236}">
                  <a16:creationId xmlns:a16="http://schemas.microsoft.com/office/drawing/2014/main" id="{EE2DBE09-6FCB-B80E-4DDB-AAB0195DCD22}"/>
                </a:ext>
              </a:extLst>
            </p:cNvPr>
            <p:cNvGrpSpPr/>
            <p:nvPr/>
          </p:nvGrpSpPr>
          <p:grpSpPr>
            <a:xfrm>
              <a:off x="3127054" y="2897904"/>
              <a:ext cx="205978" cy="365351"/>
              <a:chOff x="6383853" y="4664392"/>
              <a:chExt cx="173987" cy="308609"/>
            </a:xfrm>
            <a:solidFill>
              <a:srgbClr val="21A0D2"/>
            </a:solidFill>
          </p:grpSpPr>
          <p:sp>
            <p:nvSpPr>
              <p:cNvPr id="46" name="Freihandform: Form 45">
                <a:extLst>
                  <a:ext uri="{FF2B5EF4-FFF2-40B4-BE49-F238E27FC236}">
                    <a16:creationId xmlns:a16="http://schemas.microsoft.com/office/drawing/2014/main" id="{17C7D06A-D67B-533B-54D0-16F8AC93024A}"/>
                  </a:ext>
                </a:extLst>
              </p:cNvPr>
              <p:cNvSpPr/>
              <p:nvPr/>
            </p:nvSpPr>
            <p:spPr>
              <a:xfrm>
                <a:off x="6432232" y="4950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47" name="Freihandform: Form 46">
                <a:extLst>
                  <a:ext uri="{FF2B5EF4-FFF2-40B4-BE49-F238E27FC236}">
                    <a16:creationId xmlns:a16="http://schemas.microsoft.com/office/drawing/2014/main" id="{7745E1BF-22F8-4A82-CF48-EA4179F72376}"/>
                  </a:ext>
                </a:extLst>
              </p:cNvPr>
              <p:cNvSpPr/>
              <p:nvPr/>
            </p:nvSpPr>
            <p:spPr>
              <a:xfrm>
                <a:off x="6473189" y="4950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48" name="Freihandform: Form 47">
                <a:extLst>
                  <a:ext uri="{FF2B5EF4-FFF2-40B4-BE49-F238E27FC236}">
                    <a16:creationId xmlns:a16="http://schemas.microsoft.com/office/drawing/2014/main" id="{8F1628A0-CB96-F701-7C85-FD6D01EB569B}"/>
                  </a:ext>
                </a:extLst>
              </p:cNvPr>
              <p:cNvSpPr/>
              <p:nvPr/>
            </p:nvSpPr>
            <p:spPr>
              <a:xfrm>
                <a:off x="6383853" y="4664392"/>
                <a:ext cx="173987" cy="291464"/>
              </a:xfrm>
              <a:custGeom>
                <a:avLst/>
                <a:gdLst>
                  <a:gd name="connsiteX0" fmla="*/ 173157 w 173987"/>
                  <a:gd name="connsiteY0" fmla="*/ 114300 h 291464"/>
                  <a:gd name="connsiteX1" fmla="*/ 146487 w 173987"/>
                  <a:gd name="connsiteY1" fmla="*/ 27622 h 291464"/>
                  <a:gd name="connsiteX2" fmla="*/ 113149 w 173987"/>
                  <a:gd name="connsiteY2" fmla="*/ 0 h 291464"/>
                  <a:gd name="connsiteX3" fmla="*/ 60762 w 173987"/>
                  <a:gd name="connsiteY3" fmla="*/ 0 h 291464"/>
                  <a:gd name="connsiteX4" fmla="*/ 27424 w 173987"/>
                  <a:gd name="connsiteY4" fmla="*/ 27622 h 291464"/>
                  <a:gd name="connsiteX5" fmla="*/ 754 w 173987"/>
                  <a:gd name="connsiteY5" fmla="*/ 114300 h 291464"/>
                  <a:gd name="connsiteX6" fmla="*/ 10279 w 173987"/>
                  <a:gd name="connsiteY6" fmla="*/ 132397 h 291464"/>
                  <a:gd name="connsiteX7" fmla="*/ 14089 w 173987"/>
                  <a:gd name="connsiteY7" fmla="*/ 129540 h 291464"/>
                  <a:gd name="connsiteX8" fmla="*/ 16947 w 173987"/>
                  <a:gd name="connsiteY8" fmla="*/ 120015 h 291464"/>
                  <a:gd name="connsiteX9" fmla="*/ 18852 w 173987"/>
                  <a:gd name="connsiteY9" fmla="*/ 120967 h 291464"/>
                  <a:gd name="connsiteX10" fmla="*/ 15995 w 173987"/>
                  <a:gd name="connsiteY10" fmla="*/ 128588 h 291464"/>
                  <a:gd name="connsiteX11" fmla="*/ 16947 w 173987"/>
                  <a:gd name="connsiteY11" fmla="*/ 131445 h 291464"/>
                  <a:gd name="connsiteX12" fmla="*/ 24567 w 173987"/>
                  <a:gd name="connsiteY12" fmla="*/ 122872 h 291464"/>
                  <a:gd name="connsiteX13" fmla="*/ 48379 w 173987"/>
                  <a:gd name="connsiteY13" fmla="*/ 42863 h 291464"/>
                  <a:gd name="connsiteX14" fmla="*/ 55047 w 173987"/>
                  <a:gd name="connsiteY14" fmla="*/ 42863 h 291464"/>
                  <a:gd name="connsiteX15" fmla="*/ 14089 w 173987"/>
                  <a:gd name="connsiteY15" fmla="*/ 184785 h 291464"/>
                  <a:gd name="connsiteX16" fmla="*/ 52189 w 173987"/>
                  <a:gd name="connsiteY16" fmla="*/ 184785 h 291464"/>
                  <a:gd name="connsiteX17" fmla="*/ 52189 w 173987"/>
                  <a:gd name="connsiteY17" fmla="*/ 290513 h 291464"/>
                  <a:gd name="connsiteX18" fmla="*/ 66477 w 173987"/>
                  <a:gd name="connsiteY18" fmla="*/ 283845 h 291464"/>
                  <a:gd name="connsiteX19" fmla="*/ 80764 w 173987"/>
                  <a:gd name="connsiteY19" fmla="*/ 290513 h 291464"/>
                  <a:gd name="connsiteX20" fmla="*/ 80764 w 173987"/>
                  <a:gd name="connsiteY20" fmla="*/ 184785 h 291464"/>
                  <a:gd name="connsiteX21" fmla="*/ 92195 w 173987"/>
                  <a:gd name="connsiteY21" fmla="*/ 184785 h 291464"/>
                  <a:gd name="connsiteX22" fmla="*/ 92195 w 173987"/>
                  <a:gd name="connsiteY22" fmla="*/ 291465 h 291464"/>
                  <a:gd name="connsiteX23" fmla="*/ 107434 w 173987"/>
                  <a:gd name="connsiteY23" fmla="*/ 283845 h 291464"/>
                  <a:gd name="connsiteX24" fmla="*/ 120770 w 173987"/>
                  <a:gd name="connsiteY24" fmla="*/ 289560 h 291464"/>
                  <a:gd name="connsiteX25" fmla="*/ 120770 w 173987"/>
                  <a:gd name="connsiteY25" fmla="*/ 185738 h 291464"/>
                  <a:gd name="connsiteX26" fmla="*/ 158870 w 173987"/>
                  <a:gd name="connsiteY26" fmla="*/ 185738 h 291464"/>
                  <a:gd name="connsiteX27" fmla="*/ 117912 w 173987"/>
                  <a:gd name="connsiteY27" fmla="*/ 43815 h 291464"/>
                  <a:gd name="connsiteX28" fmla="*/ 124579 w 173987"/>
                  <a:gd name="connsiteY28" fmla="*/ 43815 h 291464"/>
                  <a:gd name="connsiteX29" fmla="*/ 148392 w 173987"/>
                  <a:gd name="connsiteY29" fmla="*/ 123825 h 291464"/>
                  <a:gd name="connsiteX30" fmla="*/ 155059 w 173987"/>
                  <a:gd name="connsiteY30" fmla="*/ 133350 h 291464"/>
                  <a:gd name="connsiteX31" fmla="*/ 156012 w 173987"/>
                  <a:gd name="connsiteY31" fmla="*/ 130492 h 291464"/>
                  <a:gd name="connsiteX32" fmla="*/ 153154 w 173987"/>
                  <a:gd name="connsiteY32" fmla="*/ 122872 h 291464"/>
                  <a:gd name="connsiteX33" fmla="*/ 155059 w 173987"/>
                  <a:gd name="connsiteY33" fmla="*/ 121920 h 291464"/>
                  <a:gd name="connsiteX34" fmla="*/ 157917 w 173987"/>
                  <a:gd name="connsiteY34" fmla="*/ 131445 h 291464"/>
                  <a:gd name="connsiteX35" fmla="*/ 162679 w 173987"/>
                  <a:gd name="connsiteY35" fmla="*/ 134302 h 291464"/>
                  <a:gd name="connsiteX36" fmla="*/ 173157 w 173987"/>
                  <a:gd name="connsiteY36" fmla="*/ 114300 h 29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3987" h="291464">
                    <a:moveTo>
                      <a:pt x="173157" y="114300"/>
                    </a:moveTo>
                    <a:lnTo>
                      <a:pt x="146487" y="27622"/>
                    </a:lnTo>
                    <a:cubicBezTo>
                      <a:pt x="143629" y="18097"/>
                      <a:pt x="134104" y="0"/>
                      <a:pt x="113149" y="0"/>
                    </a:cubicBezTo>
                    <a:lnTo>
                      <a:pt x="60762" y="0"/>
                    </a:lnTo>
                    <a:cubicBezTo>
                      <a:pt x="38854" y="0"/>
                      <a:pt x="30282" y="17145"/>
                      <a:pt x="27424" y="27622"/>
                    </a:cubicBezTo>
                    <a:lnTo>
                      <a:pt x="754" y="114300"/>
                    </a:lnTo>
                    <a:cubicBezTo>
                      <a:pt x="-2103" y="124777"/>
                      <a:pt x="3612" y="131445"/>
                      <a:pt x="10279" y="132397"/>
                    </a:cubicBezTo>
                    <a:cubicBezTo>
                      <a:pt x="12184" y="132397"/>
                      <a:pt x="14089" y="132397"/>
                      <a:pt x="14089" y="129540"/>
                    </a:cubicBezTo>
                    <a:lnTo>
                      <a:pt x="16947" y="120015"/>
                    </a:lnTo>
                    <a:lnTo>
                      <a:pt x="18852" y="120967"/>
                    </a:lnTo>
                    <a:lnTo>
                      <a:pt x="15995" y="128588"/>
                    </a:lnTo>
                    <a:cubicBezTo>
                      <a:pt x="15995" y="128588"/>
                      <a:pt x="15042" y="130492"/>
                      <a:pt x="16947" y="131445"/>
                    </a:cubicBezTo>
                    <a:cubicBezTo>
                      <a:pt x="19804" y="129540"/>
                      <a:pt x="22662" y="126682"/>
                      <a:pt x="24567" y="122872"/>
                    </a:cubicBezTo>
                    <a:lnTo>
                      <a:pt x="48379" y="42863"/>
                    </a:lnTo>
                    <a:lnTo>
                      <a:pt x="55047" y="42863"/>
                    </a:lnTo>
                    <a:lnTo>
                      <a:pt x="14089" y="184785"/>
                    </a:lnTo>
                    <a:lnTo>
                      <a:pt x="52189" y="184785"/>
                    </a:lnTo>
                    <a:lnTo>
                      <a:pt x="52189" y="290513"/>
                    </a:lnTo>
                    <a:cubicBezTo>
                      <a:pt x="55999" y="286702"/>
                      <a:pt x="60762" y="283845"/>
                      <a:pt x="66477" y="283845"/>
                    </a:cubicBezTo>
                    <a:cubicBezTo>
                      <a:pt x="72192" y="283845"/>
                      <a:pt x="76954" y="286702"/>
                      <a:pt x="80764" y="290513"/>
                    </a:cubicBezTo>
                    <a:lnTo>
                      <a:pt x="80764" y="184785"/>
                    </a:lnTo>
                    <a:lnTo>
                      <a:pt x="92195" y="184785"/>
                    </a:lnTo>
                    <a:lnTo>
                      <a:pt x="92195" y="291465"/>
                    </a:lnTo>
                    <a:cubicBezTo>
                      <a:pt x="96004" y="286702"/>
                      <a:pt x="101720" y="283845"/>
                      <a:pt x="107434" y="283845"/>
                    </a:cubicBezTo>
                    <a:cubicBezTo>
                      <a:pt x="112197" y="283845"/>
                      <a:pt x="116959" y="285750"/>
                      <a:pt x="120770" y="289560"/>
                    </a:cubicBezTo>
                    <a:lnTo>
                      <a:pt x="120770" y="185738"/>
                    </a:lnTo>
                    <a:lnTo>
                      <a:pt x="158870" y="185738"/>
                    </a:lnTo>
                    <a:lnTo>
                      <a:pt x="117912" y="43815"/>
                    </a:lnTo>
                    <a:lnTo>
                      <a:pt x="124579" y="43815"/>
                    </a:lnTo>
                    <a:lnTo>
                      <a:pt x="148392" y="123825"/>
                    </a:lnTo>
                    <a:cubicBezTo>
                      <a:pt x="150297" y="128588"/>
                      <a:pt x="152202" y="131445"/>
                      <a:pt x="155059" y="133350"/>
                    </a:cubicBezTo>
                    <a:cubicBezTo>
                      <a:pt x="156012" y="133350"/>
                      <a:pt x="156012" y="130492"/>
                      <a:pt x="156012" y="130492"/>
                    </a:cubicBezTo>
                    <a:lnTo>
                      <a:pt x="153154" y="122872"/>
                    </a:lnTo>
                    <a:lnTo>
                      <a:pt x="155059" y="121920"/>
                    </a:lnTo>
                    <a:lnTo>
                      <a:pt x="157917" y="131445"/>
                    </a:lnTo>
                    <a:cubicBezTo>
                      <a:pt x="158870" y="134302"/>
                      <a:pt x="160774" y="134302"/>
                      <a:pt x="162679" y="134302"/>
                    </a:cubicBezTo>
                    <a:cubicBezTo>
                      <a:pt x="171252" y="131445"/>
                      <a:pt x="176014" y="124777"/>
                      <a:pt x="173157" y="114300"/>
                    </a:cubicBezTo>
                    <a:close/>
                  </a:path>
                </a:pathLst>
              </a:custGeom>
              <a:grpFill/>
              <a:ln w="9525" cap="flat">
                <a:noFill/>
                <a:prstDash val="solid"/>
                <a:miter/>
              </a:ln>
            </p:spPr>
            <p:txBody>
              <a:bodyPr rtlCol="0" anchor="ctr"/>
              <a:lstStyle/>
              <a:p>
                <a:endParaRPr lang="en-US" dirty="0"/>
              </a:p>
            </p:txBody>
          </p:sp>
        </p:grpSp>
        <p:grpSp>
          <p:nvGrpSpPr>
            <p:cNvPr id="43" name="Grafik 1418">
              <a:extLst>
                <a:ext uri="{FF2B5EF4-FFF2-40B4-BE49-F238E27FC236}">
                  <a16:creationId xmlns:a16="http://schemas.microsoft.com/office/drawing/2014/main" id="{C19EB08A-E252-7373-ABA7-692D9B7A6C3E}"/>
                </a:ext>
              </a:extLst>
            </p:cNvPr>
            <p:cNvGrpSpPr/>
            <p:nvPr/>
          </p:nvGrpSpPr>
          <p:grpSpPr>
            <a:xfrm>
              <a:off x="3189966" y="2795289"/>
              <a:ext cx="81190" cy="94720"/>
              <a:chOff x="6436994" y="4577714"/>
              <a:chExt cx="68580" cy="80009"/>
            </a:xfrm>
            <a:solidFill>
              <a:srgbClr val="21A0D2"/>
            </a:solidFill>
          </p:grpSpPr>
          <p:sp>
            <p:nvSpPr>
              <p:cNvPr id="44" name="Freihandform: Form 43">
                <a:extLst>
                  <a:ext uri="{FF2B5EF4-FFF2-40B4-BE49-F238E27FC236}">
                    <a16:creationId xmlns:a16="http://schemas.microsoft.com/office/drawing/2014/main" id="{366CB94A-4CB2-DB87-A516-2257DCCE2905}"/>
                  </a:ext>
                </a:extLst>
              </p:cNvPr>
              <p:cNvSpPr/>
              <p:nvPr/>
            </p:nvSpPr>
            <p:spPr>
              <a:xfrm>
                <a:off x="6440805" y="4612004"/>
                <a:ext cx="60959" cy="45719"/>
              </a:xfrm>
              <a:custGeom>
                <a:avLst/>
                <a:gdLst>
                  <a:gd name="connsiteX0" fmla="*/ 3810 w 60959"/>
                  <a:gd name="connsiteY0" fmla="*/ 0 h 45719"/>
                  <a:gd name="connsiteX1" fmla="*/ 0 w 60959"/>
                  <a:gd name="connsiteY1" fmla="*/ 15240 h 45719"/>
                  <a:gd name="connsiteX2" fmla="*/ 30480 w 60959"/>
                  <a:gd name="connsiteY2" fmla="*/ 45720 h 45719"/>
                  <a:gd name="connsiteX3" fmla="*/ 60960 w 60959"/>
                  <a:gd name="connsiteY3" fmla="*/ 15240 h 45719"/>
                  <a:gd name="connsiteX4" fmla="*/ 57150 w 60959"/>
                  <a:gd name="connsiteY4" fmla="*/ 0 h 45719"/>
                  <a:gd name="connsiteX5" fmla="*/ 3810 w 60959"/>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 h="45719">
                    <a:moveTo>
                      <a:pt x="3810" y="0"/>
                    </a:moveTo>
                    <a:cubicBezTo>
                      <a:pt x="952" y="4763"/>
                      <a:pt x="0" y="9525"/>
                      <a:pt x="0" y="15240"/>
                    </a:cubicBezTo>
                    <a:cubicBezTo>
                      <a:pt x="0" y="32385"/>
                      <a:pt x="13335"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endParaRPr lang="en-US" dirty="0"/>
              </a:p>
            </p:txBody>
          </p:sp>
          <p:sp>
            <p:nvSpPr>
              <p:cNvPr id="45" name="Freihandform: Form 44">
                <a:extLst>
                  <a:ext uri="{FF2B5EF4-FFF2-40B4-BE49-F238E27FC236}">
                    <a16:creationId xmlns:a16="http://schemas.microsoft.com/office/drawing/2014/main" id="{FCEB5411-6761-F629-2FBB-E3B7356E7DDC}"/>
                  </a:ext>
                </a:extLst>
              </p:cNvPr>
              <p:cNvSpPr/>
              <p:nvPr/>
            </p:nvSpPr>
            <p:spPr>
              <a:xfrm>
                <a:off x="6436994" y="4577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endParaRPr lang="en-US" dirty="0"/>
              </a:p>
            </p:txBody>
          </p:sp>
        </p:grpSp>
      </p:grpSp>
      <p:pic>
        <p:nvPicPr>
          <p:cNvPr id="54" name="Grafik 53">
            <a:extLst>
              <a:ext uri="{FF2B5EF4-FFF2-40B4-BE49-F238E27FC236}">
                <a16:creationId xmlns:a16="http://schemas.microsoft.com/office/drawing/2014/main" id="{8AA736C3-327F-5764-3E96-D92A139ABB3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791" y="1863967"/>
            <a:ext cx="419100" cy="285750"/>
          </a:xfrm>
          <a:prstGeom prst="rect">
            <a:avLst/>
          </a:prstGeom>
        </p:spPr>
      </p:pic>
      <p:grpSp>
        <p:nvGrpSpPr>
          <p:cNvPr id="55" name="Gruppieren 54">
            <a:extLst>
              <a:ext uri="{FF2B5EF4-FFF2-40B4-BE49-F238E27FC236}">
                <a16:creationId xmlns:a16="http://schemas.microsoft.com/office/drawing/2014/main" id="{F08C133A-4D2E-818E-9B89-1FB680DE8290}"/>
              </a:ext>
            </a:extLst>
          </p:cNvPr>
          <p:cNvGrpSpPr/>
          <p:nvPr/>
        </p:nvGrpSpPr>
        <p:grpSpPr>
          <a:xfrm>
            <a:off x="5635103" y="3790873"/>
            <a:ext cx="492074" cy="468000"/>
            <a:chOff x="2817020" y="3746620"/>
            <a:chExt cx="492074" cy="468000"/>
          </a:xfrm>
        </p:grpSpPr>
        <p:sp>
          <p:nvSpPr>
            <p:cNvPr id="56" name="Grafik 19">
              <a:extLst>
                <a:ext uri="{FF2B5EF4-FFF2-40B4-BE49-F238E27FC236}">
                  <a16:creationId xmlns:a16="http://schemas.microsoft.com/office/drawing/2014/main" id="{181920CA-95F3-AB49-F655-F3842AF8B439}"/>
                </a:ext>
              </a:extLst>
            </p:cNvPr>
            <p:cNvSpPr>
              <a:spLocks noChangeAspect="1"/>
            </p:cNvSpPr>
            <p:nvPr/>
          </p:nvSpPr>
          <p:spPr>
            <a:xfrm>
              <a:off x="2817020" y="3746620"/>
              <a:ext cx="492074" cy="468000"/>
            </a:xfrm>
            <a:custGeom>
              <a:avLst/>
              <a:gdLst>
                <a:gd name="connsiteX0" fmla="*/ 286607 w 354330"/>
                <a:gd name="connsiteY0" fmla="*/ 336995 h 336994"/>
                <a:gd name="connsiteX1" fmla="*/ 177165 w 354330"/>
                <a:gd name="connsiteY1" fmla="*/ 279464 h 336994"/>
                <a:gd name="connsiteX2" fmla="*/ 67628 w 354330"/>
                <a:gd name="connsiteY2" fmla="*/ 336995 h 336994"/>
                <a:gd name="connsiteX3" fmla="*/ 88583 w 354330"/>
                <a:gd name="connsiteY3" fmla="*/ 215170 h 336994"/>
                <a:gd name="connsiteX4" fmla="*/ 0 w 354330"/>
                <a:gd name="connsiteY4" fmla="*/ 128778 h 336994"/>
                <a:gd name="connsiteX5" fmla="*/ 122396 w 354330"/>
                <a:gd name="connsiteY5" fmla="*/ 110966 h 336994"/>
                <a:gd name="connsiteX6" fmla="*/ 177165 w 354330"/>
                <a:gd name="connsiteY6" fmla="*/ 0 h 336994"/>
                <a:gd name="connsiteX7" fmla="*/ 231934 w 354330"/>
                <a:gd name="connsiteY7" fmla="*/ 110966 h 336994"/>
                <a:gd name="connsiteX8" fmla="*/ 354330 w 354330"/>
                <a:gd name="connsiteY8" fmla="*/ 128778 h 336994"/>
                <a:gd name="connsiteX9" fmla="*/ 265748 w 354330"/>
                <a:gd name="connsiteY9" fmla="*/ 215170 h 336994"/>
                <a:gd name="connsiteX10" fmla="*/ 286607 w 354330"/>
                <a:gd name="connsiteY10" fmla="*/ 336995 h 33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330" h="336994">
                  <a:moveTo>
                    <a:pt x="286607" y="336995"/>
                  </a:moveTo>
                  <a:lnTo>
                    <a:pt x="177165" y="279464"/>
                  </a:lnTo>
                  <a:lnTo>
                    <a:pt x="67628" y="336995"/>
                  </a:lnTo>
                  <a:lnTo>
                    <a:pt x="88583" y="215170"/>
                  </a:lnTo>
                  <a:lnTo>
                    <a:pt x="0" y="128778"/>
                  </a:lnTo>
                  <a:lnTo>
                    <a:pt x="122396" y="110966"/>
                  </a:lnTo>
                  <a:lnTo>
                    <a:pt x="177165" y="0"/>
                  </a:lnTo>
                  <a:lnTo>
                    <a:pt x="231934" y="110966"/>
                  </a:lnTo>
                  <a:lnTo>
                    <a:pt x="354330" y="128778"/>
                  </a:lnTo>
                  <a:lnTo>
                    <a:pt x="265748" y="215170"/>
                  </a:lnTo>
                  <a:lnTo>
                    <a:pt x="286607" y="336995"/>
                  </a:lnTo>
                  <a:close/>
                </a:path>
              </a:pathLst>
            </a:custGeom>
            <a:solidFill>
              <a:srgbClr val="21A0D2"/>
            </a:solidFill>
            <a:ln w="9525" cap="flat">
              <a:noFill/>
              <a:prstDash val="solid"/>
              <a:miter/>
            </a:ln>
          </p:spPr>
          <p:txBody>
            <a:bodyPr rtlCol="0" anchor="ctr"/>
            <a:lstStyle/>
            <a:p>
              <a:endParaRPr lang="en-US" dirty="0"/>
            </a:p>
          </p:txBody>
        </p:sp>
        <p:grpSp>
          <p:nvGrpSpPr>
            <p:cNvPr id="57" name="Gruppieren 56">
              <a:extLst>
                <a:ext uri="{FF2B5EF4-FFF2-40B4-BE49-F238E27FC236}">
                  <a16:creationId xmlns:a16="http://schemas.microsoft.com/office/drawing/2014/main" id="{70577CEC-46C2-12A2-D95E-ED7AD14F94C4}"/>
                </a:ext>
              </a:extLst>
            </p:cNvPr>
            <p:cNvGrpSpPr/>
            <p:nvPr/>
          </p:nvGrpSpPr>
          <p:grpSpPr>
            <a:xfrm>
              <a:off x="2995764" y="3861386"/>
              <a:ext cx="134586" cy="293739"/>
              <a:chOff x="3002020" y="3830001"/>
              <a:chExt cx="214429" cy="468000"/>
            </a:xfrm>
          </p:grpSpPr>
          <p:grpSp>
            <p:nvGrpSpPr>
              <p:cNvPr id="58" name="Gruppieren 57">
                <a:extLst>
                  <a:ext uri="{FF2B5EF4-FFF2-40B4-BE49-F238E27FC236}">
                    <a16:creationId xmlns:a16="http://schemas.microsoft.com/office/drawing/2014/main" id="{2702860D-D763-BACF-90D4-31F446FE2FF8}"/>
                  </a:ext>
                </a:extLst>
              </p:cNvPr>
              <p:cNvGrpSpPr>
                <a:grpSpLocks noChangeAspect="1"/>
              </p:cNvGrpSpPr>
              <p:nvPr/>
            </p:nvGrpSpPr>
            <p:grpSpPr>
              <a:xfrm>
                <a:off x="3002020" y="3830001"/>
                <a:ext cx="214429" cy="468000"/>
                <a:chOff x="2156199" y="1368741"/>
                <a:chExt cx="220282" cy="480774"/>
              </a:xfrm>
              <a:solidFill>
                <a:schemeClr val="bg1"/>
              </a:solidFill>
            </p:grpSpPr>
            <p:sp>
              <p:nvSpPr>
                <p:cNvPr id="60" name="Freihandform: Form 59">
                  <a:extLst>
                    <a:ext uri="{FF2B5EF4-FFF2-40B4-BE49-F238E27FC236}">
                      <a16:creationId xmlns:a16="http://schemas.microsoft.com/office/drawing/2014/main" id="{5F2C5AB4-9CF4-6002-7FB4-C0CBF44DDA00}"/>
                    </a:ext>
                  </a:extLst>
                </p:cNvPr>
                <p:cNvSpPr/>
                <p:nvPr/>
              </p:nvSpPr>
              <p:spPr>
                <a:xfrm>
                  <a:off x="2156199" y="1455419"/>
                  <a:ext cx="220282" cy="394096"/>
                </a:xfrm>
                <a:custGeom>
                  <a:avLst/>
                  <a:gdLst>
                    <a:gd name="connsiteX0" fmla="*/ 143135 w 220282"/>
                    <a:gd name="connsiteY0" fmla="*/ 0 h 394096"/>
                    <a:gd name="connsiteX1" fmla="*/ 185998 w 220282"/>
                    <a:gd name="connsiteY1" fmla="*/ 35242 h 394096"/>
                    <a:gd name="connsiteX2" fmla="*/ 219335 w 220282"/>
                    <a:gd name="connsiteY2" fmla="*/ 145732 h 394096"/>
                    <a:gd name="connsiteX3" fmla="*/ 188855 w 220282"/>
                    <a:gd name="connsiteY3" fmla="*/ 156210 h 394096"/>
                    <a:gd name="connsiteX4" fmla="*/ 158375 w 220282"/>
                    <a:gd name="connsiteY4" fmla="*/ 54292 h 394096"/>
                    <a:gd name="connsiteX5" fmla="*/ 149803 w 220282"/>
                    <a:gd name="connsiteY5" fmla="*/ 54292 h 394096"/>
                    <a:gd name="connsiteX6" fmla="*/ 202190 w 220282"/>
                    <a:gd name="connsiteY6" fmla="*/ 235267 h 394096"/>
                    <a:gd name="connsiteX7" fmla="*/ 153613 w 220282"/>
                    <a:gd name="connsiteY7" fmla="*/ 235267 h 394096"/>
                    <a:gd name="connsiteX8" fmla="*/ 153613 w 220282"/>
                    <a:gd name="connsiteY8" fmla="*/ 376238 h 394096"/>
                    <a:gd name="connsiteX9" fmla="*/ 117418 w 220282"/>
                    <a:gd name="connsiteY9" fmla="*/ 376238 h 394096"/>
                    <a:gd name="connsiteX10" fmla="*/ 117418 w 220282"/>
                    <a:gd name="connsiteY10" fmla="*/ 234315 h 394096"/>
                    <a:gd name="connsiteX11" fmla="*/ 103130 w 220282"/>
                    <a:gd name="connsiteY11" fmla="*/ 234315 h 394096"/>
                    <a:gd name="connsiteX12" fmla="*/ 103130 w 220282"/>
                    <a:gd name="connsiteY12" fmla="*/ 376238 h 394096"/>
                    <a:gd name="connsiteX13" fmla="*/ 66935 w 220282"/>
                    <a:gd name="connsiteY13" fmla="*/ 376238 h 394096"/>
                    <a:gd name="connsiteX14" fmla="*/ 66935 w 220282"/>
                    <a:gd name="connsiteY14" fmla="*/ 235267 h 394096"/>
                    <a:gd name="connsiteX15" fmla="*/ 18358 w 220282"/>
                    <a:gd name="connsiteY15" fmla="*/ 235267 h 394096"/>
                    <a:gd name="connsiteX16" fmla="*/ 70745 w 220282"/>
                    <a:gd name="connsiteY16" fmla="*/ 54292 h 394096"/>
                    <a:gd name="connsiteX17" fmla="*/ 62173 w 220282"/>
                    <a:gd name="connsiteY17" fmla="*/ 54292 h 394096"/>
                    <a:gd name="connsiteX18" fmla="*/ 31693 w 220282"/>
                    <a:gd name="connsiteY18" fmla="*/ 156210 h 394096"/>
                    <a:gd name="connsiteX19" fmla="*/ 1213 w 220282"/>
                    <a:gd name="connsiteY19" fmla="*/ 145732 h 394096"/>
                    <a:gd name="connsiteX20" fmla="*/ 34550 w 220282"/>
                    <a:gd name="connsiteY20" fmla="*/ 35242 h 394096"/>
                    <a:gd name="connsiteX21" fmla="*/ 76460 w 220282"/>
                    <a:gd name="connsiteY21" fmla="*/ 0 h 394096"/>
                    <a:gd name="connsiteX22" fmla="*/ 143135 w 220282"/>
                    <a:gd name="connsiteY22" fmla="*/ 0 h 39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0282" h="394096">
                      <a:moveTo>
                        <a:pt x="143135" y="0"/>
                      </a:moveTo>
                      <a:cubicBezTo>
                        <a:pt x="170758" y="0"/>
                        <a:pt x="182188" y="22860"/>
                        <a:pt x="185998" y="35242"/>
                      </a:cubicBezTo>
                      <a:lnTo>
                        <a:pt x="219335" y="145732"/>
                      </a:lnTo>
                      <a:cubicBezTo>
                        <a:pt x="226003" y="169545"/>
                        <a:pt x="195523" y="179070"/>
                        <a:pt x="188855" y="156210"/>
                      </a:cubicBezTo>
                      <a:lnTo>
                        <a:pt x="158375" y="54292"/>
                      </a:lnTo>
                      <a:lnTo>
                        <a:pt x="149803" y="54292"/>
                      </a:lnTo>
                      <a:lnTo>
                        <a:pt x="202190" y="235267"/>
                      </a:lnTo>
                      <a:lnTo>
                        <a:pt x="153613" y="235267"/>
                      </a:lnTo>
                      <a:lnTo>
                        <a:pt x="153613" y="376238"/>
                      </a:lnTo>
                      <a:cubicBezTo>
                        <a:pt x="153613" y="400050"/>
                        <a:pt x="117418" y="400050"/>
                        <a:pt x="117418" y="376238"/>
                      </a:cubicBezTo>
                      <a:lnTo>
                        <a:pt x="117418" y="234315"/>
                      </a:lnTo>
                      <a:lnTo>
                        <a:pt x="103130" y="234315"/>
                      </a:lnTo>
                      <a:lnTo>
                        <a:pt x="103130" y="376238"/>
                      </a:lnTo>
                      <a:cubicBezTo>
                        <a:pt x="103130" y="400050"/>
                        <a:pt x="66935" y="400050"/>
                        <a:pt x="66935" y="376238"/>
                      </a:cubicBezTo>
                      <a:lnTo>
                        <a:pt x="66935" y="235267"/>
                      </a:lnTo>
                      <a:lnTo>
                        <a:pt x="18358" y="235267"/>
                      </a:lnTo>
                      <a:lnTo>
                        <a:pt x="70745" y="54292"/>
                      </a:lnTo>
                      <a:lnTo>
                        <a:pt x="62173" y="54292"/>
                      </a:lnTo>
                      <a:lnTo>
                        <a:pt x="31693" y="156210"/>
                      </a:lnTo>
                      <a:cubicBezTo>
                        <a:pt x="24073" y="178117"/>
                        <a:pt x="-6407" y="169545"/>
                        <a:pt x="1213" y="145732"/>
                      </a:cubicBezTo>
                      <a:lnTo>
                        <a:pt x="34550" y="35242"/>
                      </a:lnTo>
                      <a:cubicBezTo>
                        <a:pt x="38360" y="22860"/>
                        <a:pt x="48838" y="0"/>
                        <a:pt x="76460" y="0"/>
                      </a:cubicBezTo>
                      <a:lnTo>
                        <a:pt x="143135" y="0"/>
                      </a:lnTo>
                      <a:close/>
                    </a:path>
                  </a:pathLst>
                </a:custGeom>
                <a:grpFill/>
                <a:ln w="19050" cap="flat">
                  <a:noFill/>
                  <a:prstDash val="solid"/>
                  <a:miter/>
                </a:ln>
              </p:spPr>
              <p:txBody>
                <a:bodyPr rtlCol="0" anchor="ctr"/>
                <a:lstStyle/>
                <a:p>
                  <a:endParaRPr lang="en-US" dirty="0"/>
                </a:p>
              </p:txBody>
            </p:sp>
            <p:sp>
              <p:nvSpPr>
                <p:cNvPr id="61" name="Freihandform: Form 60">
                  <a:extLst>
                    <a:ext uri="{FF2B5EF4-FFF2-40B4-BE49-F238E27FC236}">
                      <a16:creationId xmlns:a16="http://schemas.microsoft.com/office/drawing/2014/main" id="{1F6EA1A1-2323-508C-1531-4DADED71CA03}"/>
                    </a:ext>
                  </a:extLst>
                </p:cNvPr>
                <p:cNvSpPr/>
                <p:nvPr/>
              </p:nvSpPr>
              <p:spPr>
                <a:xfrm>
                  <a:off x="2260282" y="1690687"/>
                  <a:ext cx="14287" cy="9525"/>
                </a:xfrm>
                <a:custGeom>
                  <a:avLst/>
                  <a:gdLst>
                    <a:gd name="connsiteX0" fmla="*/ 14288 w 14287"/>
                    <a:gd name="connsiteY0" fmla="*/ 0 h 9525"/>
                    <a:gd name="connsiteX1" fmla="*/ 0 w 14287"/>
                    <a:gd name="connsiteY1" fmla="*/ 0 h 9525"/>
                  </a:gdLst>
                  <a:ahLst/>
                  <a:cxnLst>
                    <a:cxn ang="0">
                      <a:pos x="connsiteX0" y="connsiteY0"/>
                    </a:cxn>
                    <a:cxn ang="0">
                      <a:pos x="connsiteX1" y="connsiteY1"/>
                    </a:cxn>
                  </a:cxnLst>
                  <a:rect l="l" t="t" r="r" b="b"/>
                  <a:pathLst>
                    <a:path w="14287" h="9525">
                      <a:moveTo>
                        <a:pt x="14288" y="0"/>
                      </a:moveTo>
                      <a:lnTo>
                        <a:pt x="0" y="0"/>
                      </a:lnTo>
                    </a:path>
                  </a:pathLst>
                </a:custGeom>
                <a:grpFill/>
                <a:ln w="19050" cap="flat">
                  <a:noFill/>
                  <a:prstDash val="solid"/>
                  <a:miter/>
                </a:ln>
              </p:spPr>
              <p:txBody>
                <a:bodyPr rtlCol="0" anchor="ctr"/>
                <a:lstStyle/>
                <a:p>
                  <a:endParaRPr lang="en-US" dirty="0"/>
                </a:p>
              </p:txBody>
            </p:sp>
            <p:sp>
              <p:nvSpPr>
                <p:cNvPr id="62" name="Freihandform: Form 61">
                  <a:extLst>
                    <a:ext uri="{FF2B5EF4-FFF2-40B4-BE49-F238E27FC236}">
                      <a16:creationId xmlns:a16="http://schemas.microsoft.com/office/drawing/2014/main" id="{A6A36A5F-36CB-25F4-12FD-E68F0F904335}"/>
                    </a:ext>
                  </a:extLst>
                </p:cNvPr>
                <p:cNvSpPr/>
                <p:nvPr/>
              </p:nvSpPr>
              <p:spPr>
                <a:xfrm>
                  <a:off x="2227897" y="1368741"/>
                  <a:ext cx="78105" cy="78105"/>
                </a:xfrm>
                <a:custGeom>
                  <a:avLst/>
                  <a:gdLst>
                    <a:gd name="connsiteX0" fmla="*/ 39053 w 78105"/>
                    <a:gd name="connsiteY0" fmla="*/ 0 h 78105"/>
                    <a:gd name="connsiteX1" fmla="*/ 78105 w 78105"/>
                    <a:gd name="connsiteY1" fmla="*/ 39053 h 78105"/>
                    <a:gd name="connsiteX2" fmla="*/ 39053 w 78105"/>
                    <a:gd name="connsiteY2" fmla="*/ 78105 h 78105"/>
                    <a:gd name="connsiteX3" fmla="*/ 0 w 78105"/>
                    <a:gd name="connsiteY3" fmla="*/ 39053 h 78105"/>
                    <a:gd name="connsiteX4" fmla="*/ 39053 w 78105"/>
                    <a:gd name="connsiteY4" fmla="*/ 0 h 78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05">
                      <a:moveTo>
                        <a:pt x="39053" y="0"/>
                      </a:moveTo>
                      <a:cubicBezTo>
                        <a:pt x="60960" y="0"/>
                        <a:pt x="78105" y="17145"/>
                        <a:pt x="78105" y="39053"/>
                      </a:cubicBezTo>
                      <a:cubicBezTo>
                        <a:pt x="78105" y="60960"/>
                        <a:pt x="60960" y="78105"/>
                        <a:pt x="39053" y="78105"/>
                      </a:cubicBezTo>
                      <a:cubicBezTo>
                        <a:pt x="17145" y="78105"/>
                        <a:pt x="0" y="60960"/>
                        <a:pt x="0" y="39053"/>
                      </a:cubicBezTo>
                      <a:cubicBezTo>
                        <a:pt x="0" y="17145"/>
                        <a:pt x="17145" y="0"/>
                        <a:pt x="39053" y="0"/>
                      </a:cubicBezTo>
                      <a:close/>
                    </a:path>
                  </a:pathLst>
                </a:custGeom>
                <a:grpFill/>
                <a:ln w="19050" cap="flat">
                  <a:noFill/>
                  <a:prstDash val="solid"/>
                  <a:miter/>
                </a:ln>
              </p:spPr>
              <p:txBody>
                <a:bodyPr rtlCol="0" anchor="ctr"/>
                <a:lstStyle/>
                <a:p>
                  <a:endParaRPr lang="en-US" dirty="0"/>
                </a:p>
              </p:txBody>
            </p:sp>
          </p:grpSp>
          <p:sp>
            <p:nvSpPr>
              <p:cNvPr id="59" name="Freihandform: Form 58">
                <a:extLst>
                  <a:ext uri="{FF2B5EF4-FFF2-40B4-BE49-F238E27FC236}">
                    <a16:creationId xmlns:a16="http://schemas.microsoft.com/office/drawing/2014/main" id="{01902535-F62B-AB92-7521-0A1DCA5343FD}"/>
                  </a:ext>
                </a:extLst>
              </p:cNvPr>
              <p:cNvSpPr/>
              <p:nvPr/>
            </p:nvSpPr>
            <p:spPr>
              <a:xfrm>
                <a:off x="3103345" y="4143392"/>
                <a:ext cx="13907" cy="9273"/>
              </a:xfrm>
              <a:custGeom>
                <a:avLst/>
                <a:gdLst>
                  <a:gd name="connsiteX0" fmla="*/ 14288 w 14287"/>
                  <a:gd name="connsiteY0" fmla="*/ 0 h 9525"/>
                  <a:gd name="connsiteX1" fmla="*/ 0 w 14287"/>
                  <a:gd name="connsiteY1" fmla="*/ 0 h 9525"/>
                </a:gdLst>
                <a:ahLst/>
                <a:cxnLst>
                  <a:cxn ang="0">
                    <a:pos x="connsiteX0" y="connsiteY0"/>
                  </a:cxn>
                  <a:cxn ang="0">
                    <a:pos x="connsiteX1" y="connsiteY1"/>
                  </a:cxn>
                </a:cxnLst>
                <a:rect l="l" t="t" r="r" b="b"/>
                <a:pathLst>
                  <a:path w="14287" h="9525">
                    <a:moveTo>
                      <a:pt x="14288" y="0"/>
                    </a:moveTo>
                    <a:lnTo>
                      <a:pt x="0" y="0"/>
                    </a:lnTo>
                  </a:path>
                </a:pathLst>
              </a:custGeom>
              <a:solidFill>
                <a:srgbClr val="21A0D2"/>
              </a:solidFill>
              <a:ln w="9525" cap="flat">
                <a:noFill/>
                <a:prstDash val="solid"/>
                <a:miter/>
              </a:ln>
            </p:spPr>
            <p:txBody>
              <a:bodyPr rtlCol="0" anchor="ctr"/>
              <a:lstStyle/>
              <a:p>
                <a:endParaRPr lang="en-US" dirty="0"/>
              </a:p>
            </p:txBody>
          </p:sp>
        </p:grpSp>
      </p:grpSp>
      <p:pic>
        <p:nvPicPr>
          <p:cNvPr id="63" name="Grafik 62">
            <a:extLst>
              <a:ext uri="{FF2B5EF4-FFF2-40B4-BE49-F238E27FC236}">
                <a16:creationId xmlns:a16="http://schemas.microsoft.com/office/drawing/2014/main" id="{6BBC5B66-555D-49F1-4C3A-80487E7DDC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05784" y="2718497"/>
            <a:ext cx="476746" cy="468000"/>
          </a:xfrm>
          <a:prstGeom prst="rect">
            <a:avLst/>
          </a:prstGeom>
        </p:spPr>
      </p:pic>
      <p:sp>
        <p:nvSpPr>
          <p:cNvPr id="64" name="Textplatzhalter 2">
            <a:extLst>
              <a:ext uri="{FF2B5EF4-FFF2-40B4-BE49-F238E27FC236}">
                <a16:creationId xmlns:a16="http://schemas.microsoft.com/office/drawing/2014/main" id="{3514D0D9-C78F-0E36-7208-0CC2E12AB1A2}"/>
              </a:ext>
            </a:extLst>
          </p:cNvPr>
          <p:cNvSpPr txBox="1">
            <a:spLocks/>
          </p:cNvSpPr>
          <p:nvPr/>
        </p:nvSpPr>
        <p:spPr>
          <a:xfrm>
            <a:off x="672706" y="3801262"/>
            <a:ext cx="1935669" cy="563842"/>
          </a:xfrm>
          <a:prstGeom prst="rect">
            <a:avLst/>
          </a:prstGeom>
        </p:spPr>
        <p:txBody>
          <a:bodyPr vert="horz" lIns="0" tIns="0" rIns="0" bIns="108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dirty="0">
                <a:ln>
                  <a:noFill/>
                </a:ln>
                <a:solidFill>
                  <a:schemeClr val="accent1"/>
                </a:solidFill>
                <a:effectLst/>
                <a:uLnTx/>
                <a:uFillTx/>
                <a:cs typeface="Arial"/>
              </a:rPr>
              <a:t>11,850</a:t>
            </a:r>
          </a:p>
        </p:txBody>
      </p:sp>
      <p:sp>
        <p:nvSpPr>
          <p:cNvPr id="65" name="Textplatzhalter 2">
            <a:extLst>
              <a:ext uri="{FF2B5EF4-FFF2-40B4-BE49-F238E27FC236}">
                <a16:creationId xmlns:a16="http://schemas.microsoft.com/office/drawing/2014/main" id="{860867FA-F950-B18F-9847-9644292A4014}"/>
              </a:ext>
            </a:extLst>
          </p:cNvPr>
          <p:cNvSpPr txBox="1">
            <a:spLocks/>
          </p:cNvSpPr>
          <p:nvPr/>
        </p:nvSpPr>
        <p:spPr>
          <a:xfrm>
            <a:off x="692266" y="2189113"/>
            <a:ext cx="1935669" cy="807702"/>
          </a:xfrm>
          <a:prstGeom prst="rect">
            <a:avLst/>
          </a:prstGeom>
        </p:spPr>
        <p:txBody>
          <a:bodyPr vert="horz" lIns="0" tIns="0" rIns="0" bIns="108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dirty="0">
                <a:ln>
                  <a:noFill/>
                </a:ln>
                <a:solidFill>
                  <a:srgbClr val="004A96"/>
                </a:solidFill>
                <a:effectLst/>
                <a:uLnTx/>
                <a:uFillTx/>
                <a:cs typeface="Arial"/>
              </a:rPr>
              <a:t>~</a:t>
            </a:r>
            <a:r>
              <a:rPr kumimoji="0" lang="en-US" sz="3000" b="1" i="0" u="none" strike="noStrike" kern="1200" cap="none" spc="0" normalizeH="0" baseline="0" dirty="0">
                <a:ln>
                  <a:noFill/>
                </a:ln>
                <a:solidFill>
                  <a:srgbClr val="004A96"/>
                </a:solidFill>
                <a:effectLst/>
                <a:uLnTx/>
                <a:uFillTx/>
                <a:cs typeface="Arial"/>
              </a:rPr>
              <a:t>80</a:t>
            </a:r>
            <a:r>
              <a:rPr kumimoji="0" lang="en-US" sz="2200" b="1" i="0" u="none" strike="noStrike" kern="1200" cap="none" spc="0" normalizeH="0" baseline="0" dirty="0">
                <a:ln>
                  <a:noFill/>
                </a:ln>
                <a:solidFill>
                  <a:srgbClr val="004A96"/>
                </a:solidFill>
                <a:effectLst/>
                <a:uLnTx/>
                <a:uFillTx/>
                <a:cs typeface="Arial"/>
              </a:rPr>
              <a:t>%</a:t>
            </a:r>
          </a:p>
        </p:txBody>
      </p:sp>
      <p:grpSp>
        <p:nvGrpSpPr>
          <p:cNvPr id="66" name="Gruppieren 65">
            <a:extLst>
              <a:ext uri="{FF2B5EF4-FFF2-40B4-BE49-F238E27FC236}">
                <a16:creationId xmlns:a16="http://schemas.microsoft.com/office/drawing/2014/main" id="{90161E2A-4075-1CA7-2913-DC773DD2CDB5}"/>
              </a:ext>
            </a:extLst>
          </p:cNvPr>
          <p:cNvGrpSpPr/>
          <p:nvPr/>
        </p:nvGrpSpPr>
        <p:grpSpPr>
          <a:xfrm>
            <a:off x="275960" y="3378234"/>
            <a:ext cx="428740" cy="473785"/>
            <a:chOff x="2926519" y="1772816"/>
            <a:chExt cx="428740" cy="473785"/>
          </a:xfrm>
        </p:grpSpPr>
        <p:grpSp>
          <p:nvGrpSpPr>
            <p:cNvPr id="67" name="Grafik 1418">
              <a:extLst>
                <a:ext uri="{FF2B5EF4-FFF2-40B4-BE49-F238E27FC236}">
                  <a16:creationId xmlns:a16="http://schemas.microsoft.com/office/drawing/2014/main" id="{8FB87CBA-7B0E-F7C7-8ED5-D14482F7871E}"/>
                </a:ext>
              </a:extLst>
            </p:cNvPr>
            <p:cNvGrpSpPr/>
            <p:nvPr/>
          </p:nvGrpSpPr>
          <p:grpSpPr>
            <a:xfrm>
              <a:off x="3149638" y="1875438"/>
              <a:ext cx="205621" cy="365378"/>
              <a:chOff x="6383853" y="5426392"/>
              <a:chExt cx="173987" cy="308609"/>
            </a:xfrm>
            <a:solidFill>
              <a:srgbClr val="21A0D2"/>
            </a:solidFill>
          </p:grpSpPr>
          <p:sp>
            <p:nvSpPr>
              <p:cNvPr id="78" name="Freihandform: Form 77">
                <a:extLst>
                  <a:ext uri="{FF2B5EF4-FFF2-40B4-BE49-F238E27FC236}">
                    <a16:creationId xmlns:a16="http://schemas.microsoft.com/office/drawing/2014/main" id="{6778D983-CB8B-2B37-2186-4D94E7F5AB7D}"/>
                  </a:ext>
                </a:extLst>
              </p:cNvPr>
              <p:cNvSpPr/>
              <p:nvPr/>
            </p:nvSpPr>
            <p:spPr>
              <a:xfrm>
                <a:off x="6432232" y="5712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79" name="Freihandform: Form 78">
                <a:extLst>
                  <a:ext uri="{FF2B5EF4-FFF2-40B4-BE49-F238E27FC236}">
                    <a16:creationId xmlns:a16="http://schemas.microsoft.com/office/drawing/2014/main" id="{D54508DE-924E-7080-C39B-2CAE342DB1FC}"/>
                  </a:ext>
                </a:extLst>
              </p:cNvPr>
              <p:cNvSpPr/>
              <p:nvPr/>
            </p:nvSpPr>
            <p:spPr>
              <a:xfrm>
                <a:off x="6473189" y="5712142"/>
                <a:ext cx="38100" cy="22859"/>
              </a:xfrm>
              <a:custGeom>
                <a:avLst/>
                <a:gdLst>
                  <a:gd name="connsiteX0" fmla="*/ 0 w 38100"/>
                  <a:gd name="connsiteY0" fmla="*/ 22860 h 22859"/>
                  <a:gd name="connsiteX1" fmla="*/ 38100 w 38100"/>
                  <a:gd name="connsiteY1" fmla="*/ 22860 h 22859"/>
                  <a:gd name="connsiteX2" fmla="*/ 19050 w 38100"/>
                  <a:gd name="connsiteY2" fmla="*/ 0 h 22859"/>
                  <a:gd name="connsiteX3" fmla="*/ 0 w 38100"/>
                  <a:gd name="connsiteY3" fmla="*/ 22860 h 22859"/>
                </a:gdLst>
                <a:ahLst/>
                <a:cxnLst>
                  <a:cxn ang="0">
                    <a:pos x="connsiteX0" y="connsiteY0"/>
                  </a:cxn>
                  <a:cxn ang="0">
                    <a:pos x="connsiteX1" y="connsiteY1"/>
                  </a:cxn>
                  <a:cxn ang="0">
                    <a:pos x="connsiteX2" y="connsiteY2"/>
                  </a:cxn>
                  <a:cxn ang="0">
                    <a:pos x="connsiteX3" y="connsiteY3"/>
                  </a:cxn>
                </a:cxnLst>
                <a:rect l="l" t="t" r="r" b="b"/>
                <a:pathLst>
                  <a:path w="38100" h="22859">
                    <a:moveTo>
                      <a:pt x="0" y="22860"/>
                    </a:moveTo>
                    <a:lnTo>
                      <a:pt x="38100" y="22860"/>
                    </a:lnTo>
                    <a:cubicBezTo>
                      <a:pt x="37148" y="10477"/>
                      <a:pt x="29528" y="0"/>
                      <a:pt x="19050" y="0"/>
                    </a:cubicBezTo>
                    <a:cubicBezTo>
                      <a:pt x="9525" y="952"/>
                      <a:pt x="953" y="10477"/>
                      <a:pt x="0" y="22860"/>
                    </a:cubicBezTo>
                    <a:close/>
                  </a:path>
                </a:pathLst>
              </a:custGeom>
              <a:grpFill/>
              <a:ln w="9525" cap="flat">
                <a:noFill/>
                <a:prstDash val="solid"/>
                <a:miter/>
              </a:ln>
            </p:spPr>
            <p:txBody>
              <a:bodyPr rtlCol="0" anchor="ctr"/>
              <a:lstStyle/>
              <a:p>
                <a:endParaRPr lang="en-US" dirty="0"/>
              </a:p>
            </p:txBody>
          </p:sp>
          <p:sp>
            <p:nvSpPr>
              <p:cNvPr id="80" name="Freihandform: Form 79">
                <a:extLst>
                  <a:ext uri="{FF2B5EF4-FFF2-40B4-BE49-F238E27FC236}">
                    <a16:creationId xmlns:a16="http://schemas.microsoft.com/office/drawing/2014/main" id="{435C32E5-8B73-DE47-D3AA-20EDCBED26FD}"/>
                  </a:ext>
                </a:extLst>
              </p:cNvPr>
              <p:cNvSpPr/>
              <p:nvPr/>
            </p:nvSpPr>
            <p:spPr>
              <a:xfrm>
                <a:off x="6383853" y="5426392"/>
                <a:ext cx="173987" cy="291464"/>
              </a:xfrm>
              <a:custGeom>
                <a:avLst/>
                <a:gdLst>
                  <a:gd name="connsiteX0" fmla="*/ 173157 w 173987"/>
                  <a:gd name="connsiteY0" fmla="*/ 114300 h 291464"/>
                  <a:gd name="connsiteX1" fmla="*/ 146487 w 173987"/>
                  <a:gd name="connsiteY1" fmla="*/ 27622 h 291464"/>
                  <a:gd name="connsiteX2" fmla="*/ 113149 w 173987"/>
                  <a:gd name="connsiteY2" fmla="*/ 0 h 291464"/>
                  <a:gd name="connsiteX3" fmla="*/ 60762 w 173987"/>
                  <a:gd name="connsiteY3" fmla="*/ 0 h 291464"/>
                  <a:gd name="connsiteX4" fmla="*/ 27424 w 173987"/>
                  <a:gd name="connsiteY4" fmla="*/ 27622 h 291464"/>
                  <a:gd name="connsiteX5" fmla="*/ 754 w 173987"/>
                  <a:gd name="connsiteY5" fmla="*/ 114300 h 291464"/>
                  <a:gd name="connsiteX6" fmla="*/ 10279 w 173987"/>
                  <a:gd name="connsiteY6" fmla="*/ 132397 h 291464"/>
                  <a:gd name="connsiteX7" fmla="*/ 14089 w 173987"/>
                  <a:gd name="connsiteY7" fmla="*/ 129540 h 291464"/>
                  <a:gd name="connsiteX8" fmla="*/ 16947 w 173987"/>
                  <a:gd name="connsiteY8" fmla="*/ 120015 h 291464"/>
                  <a:gd name="connsiteX9" fmla="*/ 18852 w 173987"/>
                  <a:gd name="connsiteY9" fmla="*/ 120968 h 291464"/>
                  <a:gd name="connsiteX10" fmla="*/ 15995 w 173987"/>
                  <a:gd name="connsiteY10" fmla="*/ 128588 h 291464"/>
                  <a:gd name="connsiteX11" fmla="*/ 16947 w 173987"/>
                  <a:gd name="connsiteY11" fmla="*/ 131445 h 291464"/>
                  <a:gd name="connsiteX12" fmla="*/ 24567 w 173987"/>
                  <a:gd name="connsiteY12" fmla="*/ 122872 h 291464"/>
                  <a:gd name="connsiteX13" fmla="*/ 48379 w 173987"/>
                  <a:gd name="connsiteY13" fmla="*/ 42863 h 291464"/>
                  <a:gd name="connsiteX14" fmla="*/ 55047 w 173987"/>
                  <a:gd name="connsiteY14" fmla="*/ 42863 h 291464"/>
                  <a:gd name="connsiteX15" fmla="*/ 14089 w 173987"/>
                  <a:gd name="connsiteY15" fmla="*/ 184785 h 291464"/>
                  <a:gd name="connsiteX16" fmla="*/ 52189 w 173987"/>
                  <a:gd name="connsiteY16" fmla="*/ 184785 h 291464"/>
                  <a:gd name="connsiteX17" fmla="*/ 52189 w 173987"/>
                  <a:gd name="connsiteY17" fmla="*/ 290513 h 291464"/>
                  <a:gd name="connsiteX18" fmla="*/ 66477 w 173987"/>
                  <a:gd name="connsiteY18" fmla="*/ 283845 h 291464"/>
                  <a:gd name="connsiteX19" fmla="*/ 80764 w 173987"/>
                  <a:gd name="connsiteY19" fmla="*/ 290513 h 291464"/>
                  <a:gd name="connsiteX20" fmla="*/ 80764 w 173987"/>
                  <a:gd name="connsiteY20" fmla="*/ 184785 h 291464"/>
                  <a:gd name="connsiteX21" fmla="*/ 92195 w 173987"/>
                  <a:gd name="connsiteY21" fmla="*/ 184785 h 291464"/>
                  <a:gd name="connsiteX22" fmla="*/ 92195 w 173987"/>
                  <a:gd name="connsiteY22" fmla="*/ 291465 h 291464"/>
                  <a:gd name="connsiteX23" fmla="*/ 107434 w 173987"/>
                  <a:gd name="connsiteY23" fmla="*/ 283845 h 291464"/>
                  <a:gd name="connsiteX24" fmla="*/ 120770 w 173987"/>
                  <a:gd name="connsiteY24" fmla="*/ 289560 h 291464"/>
                  <a:gd name="connsiteX25" fmla="*/ 120770 w 173987"/>
                  <a:gd name="connsiteY25" fmla="*/ 185738 h 291464"/>
                  <a:gd name="connsiteX26" fmla="*/ 158870 w 173987"/>
                  <a:gd name="connsiteY26" fmla="*/ 185738 h 291464"/>
                  <a:gd name="connsiteX27" fmla="*/ 117912 w 173987"/>
                  <a:gd name="connsiteY27" fmla="*/ 43815 h 291464"/>
                  <a:gd name="connsiteX28" fmla="*/ 124579 w 173987"/>
                  <a:gd name="connsiteY28" fmla="*/ 43815 h 291464"/>
                  <a:gd name="connsiteX29" fmla="*/ 148392 w 173987"/>
                  <a:gd name="connsiteY29" fmla="*/ 123825 h 291464"/>
                  <a:gd name="connsiteX30" fmla="*/ 155059 w 173987"/>
                  <a:gd name="connsiteY30" fmla="*/ 133350 h 291464"/>
                  <a:gd name="connsiteX31" fmla="*/ 156012 w 173987"/>
                  <a:gd name="connsiteY31" fmla="*/ 130493 h 291464"/>
                  <a:gd name="connsiteX32" fmla="*/ 153154 w 173987"/>
                  <a:gd name="connsiteY32" fmla="*/ 122872 h 291464"/>
                  <a:gd name="connsiteX33" fmla="*/ 155059 w 173987"/>
                  <a:gd name="connsiteY33" fmla="*/ 121920 h 291464"/>
                  <a:gd name="connsiteX34" fmla="*/ 157917 w 173987"/>
                  <a:gd name="connsiteY34" fmla="*/ 131445 h 291464"/>
                  <a:gd name="connsiteX35" fmla="*/ 162679 w 173987"/>
                  <a:gd name="connsiteY35" fmla="*/ 134302 h 291464"/>
                  <a:gd name="connsiteX36" fmla="*/ 173157 w 173987"/>
                  <a:gd name="connsiteY36" fmla="*/ 114300 h 291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3987" h="291464">
                    <a:moveTo>
                      <a:pt x="173157" y="114300"/>
                    </a:moveTo>
                    <a:lnTo>
                      <a:pt x="146487" y="27622"/>
                    </a:lnTo>
                    <a:cubicBezTo>
                      <a:pt x="143629" y="18097"/>
                      <a:pt x="134104" y="0"/>
                      <a:pt x="113149" y="0"/>
                    </a:cubicBezTo>
                    <a:lnTo>
                      <a:pt x="60762" y="0"/>
                    </a:lnTo>
                    <a:cubicBezTo>
                      <a:pt x="38854" y="0"/>
                      <a:pt x="30282" y="17145"/>
                      <a:pt x="27424" y="27622"/>
                    </a:cubicBezTo>
                    <a:lnTo>
                      <a:pt x="754" y="114300"/>
                    </a:lnTo>
                    <a:cubicBezTo>
                      <a:pt x="-2103" y="124777"/>
                      <a:pt x="3612" y="131445"/>
                      <a:pt x="10279" y="132397"/>
                    </a:cubicBezTo>
                    <a:cubicBezTo>
                      <a:pt x="12184" y="132397"/>
                      <a:pt x="14089" y="132397"/>
                      <a:pt x="14089" y="129540"/>
                    </a:cubicBezTo>
                    <a:lnTo>
                      <a:pt x="16947" y="120015"/>
                    </a:lnTo>
                    <a:lnTo>
                      <a:pt x="18852" y="120968"/>
                    </a:lnTo>
                    <a:lnTo>
                      <a:pt x="15995" y="128588"/>
                    </a:lnTo>
                    <a:cubicBezTo>
                      <a:pt x="15995" y="128588"/>
                      <a:pt x="15042" y="130493"/>
                      <a:pt x="16947" y="131445"/>
                    </a:cubicBezTo>
                    <a:cubicBezTo>
                      <a:pt x="19804" y="129540"/>
                      <a:pt x="22662" y="126682"/>
                      <a:pt x="24567" y="122872"/>
                    </a:cubicBezTo>
                    <a:lnTo>
                      <a:pt x="48379" y="42863"/>
                    </a:lnTo>
                    <a:lnTo>
                      <a:pt x="55047" y="42863"/>
                    </a:lnTo>
                    <a:lnTo>
                      <a:pt x="14089" y="184785"/>
                    </a:lnTo>
                    <a:lnTo>
                      <a:pt x="52189" y="184785"/>
                    </a:lnTo>
                    <a:lnTo>
                      <a:pt x="52189" y="290513"/>
                    </a:lnTo>
                    <a:cubicBezTo>
                      <a:pt x="55999" y="286702"/>
                      <a:pt x="60762" y="283845"/>
                      <a:pt x="66477" y="283845"/>
                    </a:cubicBezTo>
                    <a:cubicBezTo>
                      <a:pt x="72192" y="283845"/>
                      <a:pt x="76954" y="286702"/>
                      <a:pt x="80764" y="290513"/>
                    </a:cubicBezTo>
                    <a:lnTo>
                      <a:pt x="80764" y="184785"/>
                    </a:lnTo>
                    <a:lnTo>
                      <a:pt x="92195" y="184785"/>
                    </a:lnTo>
                    <a:lnTo>
                      <a:pt x="92195" y="291465"/>
                    </a:lnTo>
                    <a:cubicBezTo>
                      <a:pt x="96004" y="286702"/>
                      <a:pt x="101720" y="283845"/>
                      <a:pt x="107434" y="283845"/>
                    </a:cubicBezTo>
                    <a:cubicBezTo>
                      <a:pt x="112197" y="283845"/>
                      <a:pt x="116959" y="285750"/>
                      <a:pt x="120770" y="289560"/>
                    </a:cubicBezTo>
                    <a:lnTo>
                      <a:pt x="120770" y="185738"/>
                    </a:lnTo>
                    <a:lnTo>
                      <a:pt x="158870" y="185738"/>
                    </a:lnTo>
                    <a:lnTo>
                      <a:pt x="117912" y="43815"/>
                    </a:lnTo>
                    <a:lnTo>
                      <a:pt x="124579" y="43815"/>
                    </a:lnTo>
                    <a:lnTo>
                      <a:pt x="148392" y="123825"/>
                    </a:lnTo>
                    <a:cubicBezTo>
                      <a:pt x="150297" y="128588"/>
                      <a:pt x="152202" y="131445"/>
                      <a:pt x="155059" y="133350"/>
                    </a:cubicBezTo>
                    <a:cubicBezTo>
                      <a:pt x="156012" y="133350"/>
                      <a:pt x="156012" y="130493"/>
                      <a:pt x="156012" y="130493"/>
                    </a:cubicBezTo>
                    <a:lnTo>
                      <a:pt x="153154" y="122872"/>
                    </a:lnTo>
                    <a:lnTo>
                      <a:pt x="155059" y="121920"/>
                    </a:lnTo>
                    <a:lnTo>
                      <a:pt x="157917" y="131445"/>
                    </a:lnTo>
                    <a:cubicBezTo>
                      <a:pt x="158870" y="134302"/>
                      <a:pt x="160774" y="134302"/>
                      <a:pt x="162679" y="134302"/>
                    </a:cubicBezTo>
                    <a:cubicBezTo>
                      <a:pt x="171252" y="131445"/>
                      <a:pt x="176014" y="124777"/>
                      <a:pt x="173157" y="114300"/>
                    </a:cubicBezTo>
                    <a:close/>
                  </a:path>
                </a:pathLst>
              </a:custGeom>
              <a:grpFill/>
              <a:ln w="9525" cap="flat">
                <a:noFill/>
                <a:prstDash val="solid"/>
                <a:miter/>
              </a:ln>
            </p:spPr>
            <p:txBody>
              <a:bodyPr rtlCol="0" anchor="ctr"/>
              <a:lstStyle/>
              <a:p>
                <a:endParaRPr lang="en-US" dirty="0"/>
              </a:p>
            </p:txBody>
          </p:sp>
        </p:grpSp>
        <p:grpSp>
          <p:nvGrpSpPr>
            <p:cNvPr id="68" name="Grafik 1418">
              <a:extLst>
                <a:ext uri="{FF2B5EF4-FFF2-40B4-BE49-F238E27FC236}">
                  <a16:creationId xmlns:a16="http://schemas.microsoft.com/office/drawing/2014/main" id="{3E1F2BCE-7218-5C8C-F5FB-B71E92CCCD66}"/>
                </a:ext>
              </a:extLst>
            </p:cNvPr>
            <p:cNvGrpSpPr/>
            <p:nvPr/>
          </p:nvGrpSpPr>
          <p:grpSpPr>
            <a:xfrm>
              <a:off x="3212441" y="1772816"/>
              <a:ext cx="81049" cy="94727"/>
              <a:chOff x="6436994" y="5339714"/>
              <a:chExt cx="68580" cy="80009"/>
            </a:xfrm>
            <a:solidFill>
              <a:srgbClr val="21A0D2"/>
            </a:solidFill>
          </p:grpSpPr>
          <p:sp>
            <p:nvSpPr>
              <p:cNvPr id="76" name="Freihandform: Form 75">
                <a:extLst>
                  <a:ext uri="{FF2B5EF4-FFF2-40B4-BE49-F238E27FC236}">
                    <a16:creationId xmlns:a16="http://schemas.microsoft.com/office/drawing/2014/main" id="{76DE2BEC-4B72-D884-4EC1-236630A3FD6B}"/>
                  </a:ext>
                </a:extLst>
              </p:cNvPr>
              <p:cNvSpPr/>
              <p:nvPr/>
            </p:nvSpPr>
            <p:spPr>
              <a:xfrm>
                <a:off x="6440805" y="5374004"/>
                <a:ext cx="60959" cy="45719"/>
              </a:xfrm>
              <a:custGeom>
                <a:avLst/>
                <a:gdLst>
                  <a:gd name="connsiteX0" fmla="*/ 3810 w 60959"/>
                  <a:gd name="connsiteY0" fmla="*/ 0 h 45719"/>
                  <a:gd name="connsiteX1" fmla="*/ 0 w 60959"/>
                  <a:gd name="connsiteY1" fmla="*/ 15240 h 45719"/>
                  <a:gd name="connsiteX2" fmla="*/ 30480 w 60959"/>
                  <a:gd name="connsiteY2" fmla="*/ 45720 h 45719"/>
                  <a:gd name="connsiteX3" fmla="*/ 60960 w 60959"/>
                  <a:gd name="connsiteY3" fmla="*/ 15240 h 45719"/>
                  <a:gd name="connsiteX4" fmla="*/ 57150 w 60959"/>
                  <a:gd name="connsiteY4" fmla="*/ 0 h 45719"/>
                  <a:gd name="connsiteX5" fmla="*/ 3810 w 60959"/>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 h="45719">
                    <a:moveTo>
                      <a:pt x="3810" y="0"/>
                    </a:moveTo>
                    <a:cubicBezTo>
                      <a:pt x="952" y="4763"/>
                      <a:pt x="0" y="9525"/>
                      <a:pt x="0" y="15240"/>
                    </a:cubicBezTo>
                    <a:cubicBezTo>
                      <a:pt x="0" y="32385"/>
                      <a:pt x="13335"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endParaRPr lang="en-US" dirty="0"/>
              </a:p>
            </p:txBody>
          </p:sp>
          <p:sp>
            <p:nvSpPr>
              <p:cNvPr id="77" name="Freihandform: Form 76">
                <a:extLst>
                  <a:ext uri="{FF2B5EF4-FFF2-40B4-BE49-F238E27FC236}">
                    <a16:creationId xmlns:a16="http://schemas.microsoft.com/office/drawing/2014/main" id="{13A70A23-42AB-17C0-9A2F-291E221F7DEE}"/>
                  </a:ext>
                </a:extLst>
              </p:cNvPr>
              <p:cNvSpPr/>
              <p:nvPr/>
            </p:nvSpPr>
            <p:spPr>
              <a:xfrm>
                <a:off x="6436994" y="5339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endParaRPr lang="en-US" dirty="0"/>
              </a:p>
            </p:txBody>
          </p:sp>
        </p:grpSp>
        <p:grpSp>
          <p:nvGrpSpPr>
            <p:cNvPr id="69" name="Grafik 1418">
              <a:extLst>
                <a:ext uri="{FF2B5EF4-FFF2-40B4-BE49-F238E27FC236}">
                  <a16:creationId xmlns:a16="http://schemas.microsoft.com/office/drawing/2014/main" id="{B62BBCC9-E8D0-ED4C-D897-0FEE6F5F251C}"/>
                </a:ext>
              </a:extLst>
            </p:cNvPr>
            <p:cNvGrpSpPr/>
            <p:nvPr/>
          </p:nvGrpSpPr>
          <p:grpSpPr>
            <a:xfrm>
              <a:off x="2926519" y="1881223"/>
              <a:ext cx="163702" cy="365378"/>
              <a:chOff x="6195060" y="5426392"/>
              <a:chExt cx="138517" cy="308609"/>
            </a:xfrm>
            <a:solidFill>
              <a:srgbClr val="21A0D2"/>
            </a:solidFill>
          </p:grpSpPr>
          <p:sp>
            <p:nvSpPr>
              <p:cNvPr id="73" name="Freihandform: Form 72">
                <a:extLst>
                  <a:ext uri="{FF2B5EF4-FFF2-40B4-BE49-F238E27FC236}">
                    <a16:creationId xmlns:a16="http://schemas.microsoft.com/office/drawing/2014/main" id="{4E542BA8-462C-CEA0-690A-E85A04F50686}"/>
                  </a:ext>
                </a:extLst>
              </p:cNvPr>
              <p:cNvSpPr/>
              <p:nvPr/>
            </p:nvSpPr>
            <p:spPr>
              <a:xfrm>
                <a:off x="6267450" y="5712142"/>
                <a:ext cx="38100" cy="22859"/>
              </a:xfrm>
              <a:custGeom>
                <a:avLst/>
                <a:gdLst>
                  <a:gd name="connsiteX0" fmla="*/ 25718 w 38100"/>
                  <a:gd name="connsiteY0" fmla="*/ 22860 h 22859"/>
                  <a:gd name="connsiteX1" fmla="*/ 38100 w 38100"/>
                  <a:gd name="connsiteY1" fmla="*/ 22860 h 22859"/>
                  <a:gd name="connsiteX2" fmla="*/ 37148 w 38100"/>
                  <a:gd name="connsiteY2" fmla="*/ 17145 h 22859"/>
                  <a:gd name="connsiteX3" fmla="*/ 37148 w 38100"/>
                  <a:gd name="connsiteY3" fmla="*/ 16193 h 22859"/>
                  <a:gd name="connsiteX4" fmla="*/ 35243 w 38100"/>
                  <a:gd name="connsiteY4" fmla="*/ 11430 h 22859"/>
                  <a:gd name="connsiteX5" fmla="*/ 19050 w 38100"/>
                  <a:gd name="connsiteY5" fmla="*/ 0 h 22859"/>
                  <a:gd name="connsiteX6" fmla="*/ 2857 w 38100"/>
                  <a:gd name="connsiteY6" fmla="*/ 11430 h 22859"/>
                  <a:gd name="connsiteX7" fmla="*/ 2857 w 38100"/>
                  <a:gd name="connsiteY7" fmla="*/ 11430 h 22859"/>
                  <a:gd name="connsiteX8" fmla="*/ 952 w 38100"/>
                  <a:gd name="connsiteY8" fmla="*/ 16193 h 22859"/>
                  <a:gd name="connsiteX9" fmla="*/ 952 w 38100"/>
                  <a:gd name="connsiteY9" fmla="*/ 17145 h 22859"/>
                  <a:gd name="connsiteX10" fmla="*/ 0 w 38100"/>
                  <a:gd name="connsiteY10" fmla="*/ 22860 h 22859"/>
                  <a:gd name="connsiteX11" fmla="*/ 12382 w 38100"/>
                  <a:gd name="connsiteY11" fmla="*/ 22860 h 22859"/>
                  <a:gd name="connsiteX12" fmla="*/ 25718 w 38100"/>
                  <a:gd name="connsiteY12" fmla="*/ 22860 h 2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22859">
                    <a:moveTo>
                      <a:pt x="25718" y="22860"/>
                    </a:moveTo>
                    <a:lnTo>
                      <a:pt x="38100" y="22860"/>
                    </a:lnTo>
                    <a:cubicBezTo>
                      <a:pt x="38100" y="20955"/>
                      <a:pt x="38100" y="19050"/>
                      <a:pt x="37148" y="17145"/>
                    </a:cubicBezTo>
                    <a:cubicBezTo>
                      <a:pt x="37148" y="17145"/>
                      <a:pt x="37148" y="17145"/>
                      <a:pt x="37148" y="16193"/>
                    </a:cubicBezTo>
                    <a:cubicBezTo>
                      <a:pt x="37148" y="14288"/>
                      <a:pt x="36195" y="13335"/>
                      <a:pt x="35243" y="11430"/>
                    </a:cubicBezTo>
                    <a:cubicBezTo>
                      <a:pt x="32385" y="4763"/>
                      <a:pt x="25718" y="0"/>
                      <a:pt x="19050" y="0"/>
                    </a:cubicBezTo>
                    <a:cubicBezTo>
                      <a:pt x="12382" y="0"/>
                      <a:pt x="5715" y="4763"/>
                      <a:pt x="2857" y="11430"/>
                    </a:cubicBezTo>
                    <a:lnTo>
                      <a:pt x="2857" y="11430"/>
                    </a:lnTo>
                    <a:cubicBezTo>
                      <a:pt x="1905" y="13335"/>
                      <a:pt x="1905" y="14288"/>
                      <a:pt x="952" y="16193"/>
                    </a:cubicBezTo>
                    <a:cubicBezTo>
                      <a:pt x="952" y="16193"/>
                      <a:pt x="952" y="16193"/>
                      <a:pt x="952" y="17145"/>
                    </a:cubicBezTo>
                    <a:cubicBezTo>
                      <a:pt x="952" y="19050"/>
                      <a:pt x="0" y="20955"/>
                      <a:pt x="0" y="22860"/>
                    </a:cubicBezTo>
                    <a:lnTo>
                      <a:pt x="12382" y="22860"/>
                    </a:lnTo>
                    <a:lnTo>
                      <a:pt x="25718" y="22860"/>
                    </a:lnTo>
                    <a:close/>
                  </a:path>
                </a:pathLst>
              </a:custGeom>
              <a:grpFill/>
              <a:ln w="9525" cap="flat">
                <a:noFill/>
                <a:prstDash val="solid"/>
                <a:miter/>
              </a:ln>
            </p:spPr>
            <p:txBody>
              <a:bodyPr rtlCol="0" anchor="ctr"/>
              <a:lstStyle/>
              <a:p>
                <a:endParaRPr lang="en-US" dirty="0"/>
              </a:p>
            </p:txBody>
          </p:sp>
          <p:sp>
            <p:nvSpPr>
              <p:cNvPr id="74" name="Freihandform: Form 73">
                <a:extLst>
                  <a:ext uri="{FF2B5EF4-FFF2-40B4-BE49-F238E27FC236}">
                    <a16:creationId xmlns:a16="http://schemas.microsoft.com/office/drawing/2014/main" id="{D390F778-43F9-A0E4-8B3A-109607D1B6F0}"/>
                  </a:ext>
                </a:extLst>
              </p:cNvPr>
              <p:cNvSpPr/>
              <p:nvPr/>
            </p:nvSpPr>
            <p:spPr>
              <a:xfrm>
                <a:off x="6195060" y="5426392"/>
                <a:ext cx="138517" cy="292417"/>
              </a:xfrm>
              <a:custGeom>
                <a:avLst/>
                <a:gdLst>
                  <a:gd name="connsiteX0" fmla="*/ 104775 w 138517"/>
                  <a:gd name="connsiteY0" fmla="*/ 0 h 292417"/>
                  <a:gd name="connsiteX1" fmla="*/ 35242 w 138517"/>
                  <a:gd name="connsiteY1" fmla="*/ 0 h 292417"/>
                  <a:gd name="connsiteX2" fmla="*/ 0 w 138517"/>
                  <a:gd name="connsiteY2" fmla="*/ 40005 h 292417"/>
                  <a:gd name="connsiteX3" fmla="*/ 0 w 138517"/>
                  <a:gd name="connsiteY3" fmla="*/ 134302 h 292417"/>
                  <a:gd name="connsiteX4" fmla="*/ 17145 w 138517"/>
                  <a:gd name="connsiteY4" fmla="*/ 146685 h 292417"/>
                  <a:gd name="connsiteX5" fmla="*/ 18097 w 138517"/>
                  <a:gd name="connsiteY5" fmla="*/ 143827 h 292417"/>
                  <a:gd name="connsiteX6" fmla="*/ 18097 w 138517"/>
                  <a:gd name="connsiteY6" fmla="*/ 133350 h 292417"/>
                  <a:gd name="connsiteX7" fmla="*/ 20002 w 138517"/>
                  <a:gd name="connsiteY7" fmla="*/ 133350 h 292417"/>
                  <a:gd name="connsiteX8" fmla="*/ 20002 w 138517"/>
                  <a:gd name="connsiteY8" fmla="*/ 141922 h 292417"/>
                  <a:gd name="connsiteX9" fmla="*/ 20002 w 138517"/>
                  <a:gd name="connsiteY9" fmla="*/ 142875 h 292417"/>
                  <a:gd name="connsiteX10" fmla="*/ 22860 w 138517"/>
                  <a:gd name="connsiteY10" fmla="*/ 133350 h 292417"/>
                  <a:gd name="connsiteX11" fmla="*/ 22860 w 138517"/>
                  <a:gd name="connsiteY11" fmla="*/ 40957 h 292417"/>
                  <a:gd name="connsiteX12" fmla="*/ 30480 w 138517"/>
                  <a:gd name="connsiteY12" fmla="*/ 40957 h 292417"/>
                  <a:gd name="connsiteX13" fmla="*/ 30480 w 138517"/>
                  <a:gd name="connsiteY13" fmla="*/ 291465 h 292417"/>
                  <a:gd name="connsiteX14" fmla="*/ 30480 w 138517"/>
                  <a:gd name="connsiteY14" fmla="*/ 292418 h 292417"/>
                  <a:gd name="connsiteX15" fmla="*/ 47625 w 138517"/>
                  <a:gd name="connsiteY15" fmla="*/ 281940 h 292417"/>
                  <a:gd name="connsiteX16" fmla="*/ 64770 w 138517"/>
                  <a:gd name="connsiteY16" fmla="*/ 292418 h 292417"/>
                  <a:gd name="connsiteX17" fmla="*/ 64770 w 138517"/>
                  <a:gd name="connsiteY17" fmla="*/ 291465 h 292417"/>
                  <a:gd name="connsiteX18" fmla="*/ 64770 w 138517"/>
                  <a:gd name="connsiteY18" fmla="*/ 146685 h 292417"/>
                  <a:gd name="connsiteX19" fmla="*/ 72390 w 138517"/>
                  <a:gd name="connsiteY19" fmla="*/ 146685 h 292417"/>
                  <a:gd name="connsiteX20" fmla="*/ 72390 w 138517"/>
                  <a:gd name="connsiteY20" fmla="*/ 291465 h 292417"/>
                  <a:gd name="connsiteX21" fmla="*/ 72390 w 138517"/>
                  <a:gd name="connsiteY21" fmla="*/ 292418 h 292417"/>
                  <a:gd name="connsiteX22" fmla="*/ 89535 w 138517"/>
                  <a:gd name="connsiteY22" fmla="*/ 281940 h 292417"/>
                  <a:gd name="connsiteX23" fmla="*/ 106680 w 138517"/>
                  <a:gd name="connsiteY23" fmla="*/ 292418 h 292417"/>
                  <a:gd name="connsiteX24" fmla="*/ 106680 w 138517"/>
                  <a:gd name="connsiteY24" fmla="*/ 291465 h 292417"/>
                  <a:gd name="connsiteX25" fmla="*/ 106680 w 138517"/>
                  <a:gd name="connsiteY25" fmla="*/ 40957 h 292417"/>
                  <a:gd name="connsiteX26" fmla="*/ 114300 w 138517"/>
                  <a:gd name="connsiteY26" fmla="*/ 40957 h 292417"/>
                  <a:gd name="connsiteX27" fmla="*/ 114300 w 138517"/>
                  <a:gd name="connsiteY27" fmla="*/ 133350 h 292417"/>
                  <a:gd name="connsiteX28" fmla="*/ 118110 w 138517"/>
                  <a:gd name="connsiteY28" fmla="*/ 143827 h 292417"/>
                  <a:gd name="connsiteX29" fmla="*/ 119063 w 138517"/>
                  <a:gd name="connsiteY29" fmla="*/ 141922 h 292417"/>
                  <a:gd name="connsiteX30" fmla="*/ 119063 w 138517"/>
                  <a:gd name="connsiteY30" fmla="*/ 133350 h 292417"/>
                  <a:gd name="connsiteX31" fmla="*/ 120967 w 138517"/>
                  <a:gd name="connsiteY31" fmla="*/ 133350 h 292417"/>
                  <a:gd name="connsiteX32" fmla="*/ 120967 w 138517"/>
                  <a:gd name="connsiteY32" fmla="*/ 143827 h 292417"/>
                  <a:gd name="connsiteX33" fmla="*/ 122872 w 138517"/>
                  <a:gd name="connsiteY33" fmla="*/ 146685 h 292417"/>
                  <a:gd name="connsiteX34" fmla="*/ 138113 w 138517"/>
                  <a:gd name="connsiteY34" fmla="*/ 133350 h 292417"/>
                  <a:gd name="connsiteX35" fmla="*/ 138113 w 138517"/>
                  <a:gd name="connsiteY35" fmla="*/ 39052 h 292417"/>
                  <a:gd name="connsiteX36" fmla="*/ 104775 w 138517"/>
                  <a:gd name="connsiteY36" fmla="*/ 0 h 29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517" h="292417">
                    <a:moveTo>
                      <a:pt x="104775" y="0"/>
                    </a:moveTo>
                    <a:lnTo>
                      <a:pt x="35242" y="0"/>
                    </a:lnTo>
                    <a:cubicBezTo>
                      <a:pt x="13335" y="0"/>
                      <a:pt x="0" y="18097"/>
                      <a:pt x="0" y="40005"/>
                    </a:cubicBezTo>
                    <a:lnTo>
                      <a:pt x="0" y="134302"/>
                    </a:lnTo>
                    <a:cubicBezTo>
                      <a:pt x="0" y="146685"/>
                      <a:pt x="10477" y="150495"/>
                      <a:pt x="17145" y="146685"/>
                    </a:cubicBezTo>
                    <a:cubicBezTo>
                      <a:pt x="18097" y="145732"/>
                      <a:pt x="18097" y="145732"/>
                      <a:pt x="18097" y="143827"/>
                    </a:cubicBezTo>
                    <a:lnTo>
                      <a:pt x="18097" y="133350"/>
                    </a:lnTo>
                    <a:lnTo>
                      <a:pt x="20002" y="133350"/>
                    </a:lnTo>
                    <a:lnTo>
                      <a:pt x="20002" y="141922"/>
                    </a:lnTo>
                    <a:lnTo>
                      <a:pt x="20002" y="142875"/>
                    </a:lnTo>
                    <a:cubicBezTo>
                      <a:pt x="21907" y="140970"/>
                      <a:pt x="22860" y="137160"/>
                      <a:pt x="22860" y="133350"/>
                    </a:cubicBezTo>
                    <a:lnTo>
                      <a:pt x="22860" y="40957"/>
                    </a:lnTo>
                    <a:lnTo>
                      <a:pt x="30480" y="40957"/>
                    </a:lnTo>
                    <a:lnTo>
                      <a:pt x="30480" y="291465"/>
                    </a:lnTo>
                    <a:lnTo>
                      <a:pt x="30480" y="292418"/>
                    </a:lnTo>
                    <a:cubicBezTo>
                      <a:pt x="34290" y="285750"/>
                      <a:pt x="40957" y="281940"/>
                      <a:pt x="47625" y="281940"/>
                    </a:cubicBezTo>
                    <a:cubicBezTo>
                      <a:pt x="54292" y="281940"/>
                      <a:pt x="60960" y="285750"/>
                      <a:pt x="64770" y="292418"/>
                    </a:cubicBezTo>
                    <a:lnTo>
                      <a:pt x="64770" y="291465"/>
                    </a:lnTo>
                    <a:lnTo>
                      <a:pt x="64770" y="146685"/>
                    </a:lnTo>
                    <a:lnTo>
                      <a:pt x="72390" y="146685"/>
                    </a:lnTo>
                    <a:lnTo>
                      <a:pt x="72390" y="291465"/>
                    </a:lnTo>
                    <a:lnTo>
                      <a:pt x="72390" y="292418"/>
                    </a:lnTo>
                    <a:cubicBezTo>
                      <a:pt x="76200" y="285750"/>
                      <a:pt x="82867" y="281940"/>
                      <a:pt x="89535" y="281940"/>
                    </a:cubicBezTo>
                    <a:cubicBezTo>
                      <a:pt x="96202" y="281940"/>
                      <a:pt x="102870" y="285750"/>
                      <a:pt x="106680" y="292418"/>
                    </a:cubicBezTo>
                    <a:lnTo>
                      <a:pt x="106680" y="291465"/>
                    </a:lnTo>
                    <a:lnTo>
                      <a:pt x="106680" y="40957"/>
                    </a:lnTo>
                    <a:lnTo>
                      <a:pt x="114300" y="40957"/>
                    </a:lnTo>
                    <a:lnTo>
                      <a:pt x="114300" y="133350"/>
                    </a:lnTo>
                    <a:cubicBezTo>
                      <a:pt x="114300" y="138113"/>
                      <a:pt x="116205" y="140970"/>
                      <a:pt x="118110" y="143827"/>
                    </a:cubicBezTo>
                    <a:cubicBezTo>
                      <a:pt x="119063" y="142875"/>
                      <a:pt x="119063" y="141922"/>
                      <a:pt x="119063" y="141922"/>
                    </a:cubicBezTo>
                    <a:lnTo>
                      <a:pt x="119063" y="133350"/>
                    </a:lnTo>
                    <a:lnTo>
                      <a:pt x="120967" y="133350"/>
                    </a:lnTo>
                    <a:lnTo>
                      <a:pt x="120967" y="143827"/>
                    </a:lnTo>
                    <a:cubicBezTo>
                      <a:pt x="120967" y="145732"/>
                      <a:pt x="121920" y="146685"/>
                      <a:pt x="122872" y="146685"/>
                    </a:cubicBezTo>
                    <a:cubicBezTo>
                      <a:pt x="129540" y="148590"/>
                      <a:pt x="138113" y="144780"/>
                      <a:pt x="138113" y="133350"/>
                    </a:cubicBezTo>
                    <a:lnTo>
                      <a:pt x="138113" y="39052"/>
                    </a:lnTo>
                    <a:cubicBezTo>
                      <a:pt x="140970" y="20002"/>
                      <a:pt x="128588" y="0"/>
                      <a:pt x="104775" y="0"/>
                    </a:cubicBezTo>
                    <a:close/>
                  </a:path>
                </a:pathLst>
              </a:custGeom>
              <a:grpFill/>
              <a:ln w="9525" cap="flat">
                <a:noFill/>
                <a:prstDash val="solid"/>
                <a:miter/>
              </a:ln>
            </p:spPr>
            <p:txBody>
              <a:bodyPr rtlCol="0" anchor="ctr"/>
              <a:lstStyle/>
              <a:p>
                <a:endParaRPr lang="en-US" dirty="0"/>
              </a:p>
            </p:txBody>
          </p:sp>
          <p:sp>
            <p:nvSpPr>
              <p:cNvPr id="75" name="Freihandform: Form 74">
                <a:extLst>
                  <a:ext uri="{FF2B5EF4-FFF2-40B4-BE49-F238E27FC236}">
                    <a16:creationId xmlns:a16="http://schemas.microsoft.com/office/drawing/2014/main" id="{F72E997E-2E8C-40D2-C101-A894C80BBB65}"/>
                  </a:ext>
                </a:extLst>
              </p:cNvPr>
              <p:cNvSpPr/>
              <p:nvPr/>
            </p:nvSpPr>
            <p:spPr>
              <a:xfrm>
                <a:off x="6225539" y="5712142"/>
                <a:ext cx="38100" cy="22859"/>
              </a:xfrm>
              <a:custGeom>
                <a:avLst/>
                <a:gdLst>
                  <a:gd name="connsiteX0" fmla="*/ 25718 w 38100"/>
                  <a:gd name="connsiteY0" fmla="*/ 22860 h 22859"/>
                  <a:gd name="connsiteX1" fmla="*/ 38100 w 38100"/>
                  <a:gd name="connsiteY1" fmla="*/ 22860 h 22859"/>
                  <a:gd name="connsiteX2" fmla="*/ 37148 w 38100"/>
                  <a:gd name="connsiteY2" fmla="*/ 17145 h 22859"/>
                  <a:gd name="connsiteX3" fmla="*/ 37148 w 38100"/>
                  <a:gd name="connsiteY3" fmla="*/ 16193 h 22859"/>
                  <a:gd name="connsiteX4" fmla="*/ 35243 w 38100"/>
                  <a:gd name="connsiteY4" fmla="*/ 11430 h 22859"/>
                  <a:gd name="connsiteX5" fmla="*/ 19050 w 38100"/>
                  <a:gd name="connsiteY5" fmla="*/ 0 h 22859"/>
                  <a:gd name="connsiteX6" fmla="*/ 2858 w 38100"/>
                  <a:gd name="connsiteY6" fmla="*/ 11430 h 22859"/>
                  <a:gd name="connsiteX7" fmla="*/ 953 w 38100"/>
                  <a:gd name="connsiteY7" fmla="*/ 16193 h 22859"/>
                  <a:gd name="connsiteX8" fmla="*/ 953 w 38100"/>
                  <a:gd name="connsiteY8" fmla="*/ 17145 h 22859"/>
                  <a:gd name="connsiteX9" fmla="*/ 0 w 38100"/>
                  <a:gd name="connsiteY9" fmla="*/ 22860 h 22859"/>
                  <a:gd name="connsiteX10" fmla="*/ 12383 w 38100"/>
                  <a:gd name="connsiteY10" fmla="*/ 22860 h 22859"/>
                  <a:gd name="connsiteX11" fmla="*/ 25718 w 38100"/>
                  <a:gd name="connsiteY11" fmla="*/ 22860 h 2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22859">
                    <a:moveTo>
                      <a:pt x="25718" y="22860"/>
                    </a:moveTo>
                    <a:lnTo>
                      <a:pt x="38100" y="22860"/>
                    </a:lnTo>
                    <a:cubicBezTo>
                      <a:pt x="38100" y="20955"/>
                      <a:pt x="38100" y="19050"/>
                      <a:pt x="37148" y="17145"/>
                    </a:cubicBezTo>
                    <a:cubicBezTo>
                      <a:pt x="37148" y="17145"/>
                      <a:pt x="37148" y="17145"/>
                      <a:pt x="37148" y="16193"/>
                    </a:cubicBezTo>
                    <a:cubicBezTo>
                      <a:pt x="37148" y="14288"/>
                      <a:pt x="36195" y="13335"/>
                      <a:pt x="35243" y="11430"/>
                    </a:cubicBezTo>
                    <a:cubicBezTo>
                      <a:pt x="32385" y="4763"/>
                      <a:pt x="25718" y="0"/>
                      <a:pt x="19050" y="0"/>
                    </a:cubicBezTo>
                    <a:cubicBezTo>
                      <a:pt x="12383" y="0"/>
                      <a:pt x="5715" y="4763"/>
                      <a:pt x="2858" y="11430"/>
                    </a:cubicBezTo>
                    <a:cubicBezTo>
                      <a:pt x="1905" y="13335"/>
                      <a:pt x="1905" y="14288"/>
                      <a:pt x="953" y="16193"/>
                    </a:cubicBezTo>
                    <a:cubicBezTo>
                      <a:pt x="953" y="16193"/>
                      <a:pt x="953" y="16193"/>
                      <a:pt x="953" y="17145"/>
                    </a:cubicBezTo>
                    <a:cubicBezTo>
                      <a:pt x="953" y="19050"/>
                      <a:pt x="0" y="20955"/>
                      <a:pt x="0" y="22860"/>
                    </a:cubicBezTo>
                    <a:lnTo>
                      <a:pt x="12383" y="22860"/>
                    </a:lnTo>
                    <a:lnTo>
                      <a:pt x="25718" y="22860"/>
                    </a:lnTo>
                    <a:close/>
                  </a:path>
                </a:pathLst>
              </a:custGeom>
              <a:grpFill/>
              <a:ln w="9525" cap="flat">
                <a:noFill/>
                <a:prstDash val="solid"/>
                <a:miter/>
              </a:ln>
            </p:spPr>
            <p:txBody>
              <a:bodyPr rtlCol="0" anchor="ctr"/>
              <a:lstStyle/>
              <a:p>
                <a:endParaRPr lang="en-US" dirty="0"/>
              </a:p>
            </p:txBody>
          </p:sp>
        </p:grpSp>
        <p:grpSp>
          <p:nvGrpSpPr>
            <p:cNvPr id="70" name="Grafik 1418">
              <a:extLst>
                <a:ext uri="{FF2B5EF4-FFF2-40B4-BE49-F238E27FC236}">
                  <a16:creationId xmlns:a16="http://schemas.microsoft.com/office/drawing/2014/main" id="{79C0DE46-A281-51C6-B357-E112AE578B00}"/>
                </a:ext>
              </a:extLst>
            </p:cNvPr>
            <p:cNvGrpSpPr/>
            <p:nvPr/>
          </p:nvGrpSpPr>
          <p:grpSpPr>
            <a:xfrm>
              <a:off x="2969295" y="1772816"/>
              <a:ext cx="81049" cy="94727"/>
              <a:chOff x="6231255" y="5339714"/>
              <a:chExt cx="68580" cy="80009"/>
            </a:xfrm>
            <a:solidFill>
              <a:srgbClr val="21A0D2"/>
            </a:solidFill>
          </p:grpSpPr>
          <p:sp>
            <p:nvSpPr>
              <p:cNvPr id="71" name="Freihandform: Form 70">
                <a:extLst>
                  <a:ext uri="{FF2B5EF4-FFF2-40B4-BE49-F238E27FC236}">
                    <a16:creationId xmlns:a16="http://schemas.microsoft.com/office/drawing/2014/main" id="{DEF28CD7-68F9-2705-D69F-64DF1F4C716C}"/>
                  </a:ext>
                </a:extLst>
              </p:cNvPr>
              <p:cNvSpPr/>
              <p:nvPr/>
            </p:nvSpPr>
            <p:spPr>
              <a:xfrm>
                <a:off x="6235064" y="5374004"/>
                <a:ext cx="60960" cy="45719"/>
              </a:xfrm>
              <a:custGeom>
                <a:avLst/>
                <a:gdLst>
                  <a:gd name="connsiteX0" fmla="*/ 3810 w 60960"/>
                  <a:gd name="connsiteY0" fmla="*/ 0 h 45719"/>
                  <a:gd name="connsiteX1" fmla="*/ 0 w 60960"/>
                  <a:gd name="connsiteY1" fmla="*/ 15240 h 45719"/>
                  <a:gd name="connsiteX2" fmla="*/ 30480 w 60960"/>
                  <a:gd name="connsiteY2" fmla="*/ 45720 h 45719"/>
                  <a:gd name="connsiteX3" fmla="*/ 60960 w 60960"/>
                  <a:gd name="connsiteY3" fmla="*/ 15240 h 45719"/>
                  <a:gd name="connsiteX4" fmla="*/ 57150 w 60960"/>
                  <a:gd name="connsiteY4" fmla="*/ 0 h 45719"/>
                  <a:gd name="connsiteX5" fmla="*/ 3810 w 60960"/>
                  <a:gd name="connsiteY5"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 h="45719">
                    <a:moveTo>
                      <a:pt x="3810" y="0"/>
                    </a:moveTo>
                    <a:cubicBezTo>
                      <a:pt x="953" y="4763"/>
                      <a:pt x="0" y="9525"/>
                      <a:pt x="0" y="15240"/>
                    </a:cubicBezTo>
                    <a:cubicBezTo>
                      <a:pt x="0" y="32385"/>
                      <a:pt x="14288" y="45720"/>
                      <a:pt x="30480" y="45720"/>
                    </a:cubicBezTo>
                    <a:cubicBezTo>
                      <a:pt x="47625" y="45720"/>
                      <a:pt x="60960" y="31432"/>
                      <a:pt x="60960" y="15240"/>
                    </a:cubicBezTo>
                    <a:cubicBezTo>
                      <a:pt x="60960" y="9525"/>
                      <a:pt x="59055" y="4763"/>
                      <a:pt x="57150" y="0"/>
                    </a:cubicBezTo>
                    <a:lnTo>
                      <a:pt x="3810" y="0"/>
                    </a:lnTo>
                    <a:close/>
                  </a:path>
                </a:pathLst>
              </a:custGeom>
              <a:grpFill/>
              <a:ln w="9525" cap="flat">
                <a:noFill/>
                <a:prstDash val="solid"/>
                <a:miter/>
              </a:ln>
            </p:spPr>
            <p:txBody>
              <a:bodyPr rtlCol="0" anchor="ctr"/>
              <a:lstStyle/>
              <a:p>
                <a:endParaRPr lang="en-US" dirty="0"/>
              </a:p>
            </p:txBody>
          </p:sp>
          <p:sp>
            <p:nvSpPr>
              <p:cNvPr id="72" name="Freihandform: Form 71">
                <a:extLst>
                  <a:ext uri="{FF2B5EF4-FFF2-40B4-BE49-F238E27FC236}">
                    <a16:creationId xmlns:a16="http://schemas.microsoft.com/office/drawing/2014/main" id="{B18D0A8A-9AB6-2924-31EA-D52E56556641}"/>
                  </a:ext>
                </a:extLst>
              </p:cNvPr>
              <p:cNvSpPr/>
              <p:nvPr/>
            </p:nvSpPr>
            <p:spPr>
              <a:xfrm>
                <a:off x="6231255" y="5339714"/>
                <a:ext cx="68580" cy="34290"/>
              </a:xfrm>
              <a:custGeom>
                <a:avLst/>
                <a:gdLst>
                  <a:gd name="connsiteX0" fmla="*/ 68580 w 68580"/>
                  <a:gd name="connsiteY0" fmla="*/ 34290 h 34290"/>
                  <a:gd name="connsiteX1" fmla="*/ 34290 w 68580"/>
                  <a:gd name="connsiteY1" fmla="*/ 0 h 34290"/>
                  <a:gd name="connsiteX2" fmla="*/ 0 w 68580"/>
                  <a:gd name="connsiteY2" fmla="*/ 34290 h 34290"/>
                  <a:gd name="connsiteX3" fmla="*/ 68580 w 68580"/>
                  <a:gd name="connsiteY3" fmla="*/ 34290 h 34290"/>
                </a:gdLst>
                <a:ahLst/>
                <a:cxnLst>
                  <a:cxn ang="0">
                    <a:pos x="connsiteX0" y="connsiteY0"/>
                  </a:cxn>
                  <a:cxn ang="0">
                    <a:pos x="connsiteX1" y="connsiteY1"/>
                  </a:cxn>
                  <a:cxn ang="0">
                    <a:pos x="connsiteX2" y="connsiteY2"/>
                  </a:cxn>
                  <a:cxn ang="0">
                    <a:pos x="connsiteX3" y="connsiteY3"/>
                  </a:cxn>
                </a:cxnLst>
                <a:rect l="l" t="t" r="r" b="b"/>
                <a:pathLst>
                  <a:path w="68580" h="34290">
                    <a:moveTo>
                      <a:pt x="68580" y="34290"/>
                    </a:moveTo>
                    <a:cubicBezTo>
                      <a:pt x="68580" y="15240"/>
                      <a:pt x="53340" y="0"/>
                      <a:pt x="34290" y="0"/>
                    </a:cubicBezTo>
                    <a:cubicBezTo>
                      <a:pt x="15240" y="0"/>
                      <a:pt x="0" y="15240"/>
                      <a:pt x="0" y="34290"/>
                    </a:cubicBezTo>
                    <a:lnTo>
                      <a:pt x="68580" y="34290"/>
                    </a:lnTo>
                    <a:close/>
                  </a:path>
                </a:pathLst>
              </a:custGeom>
              <a:grpFill/>
              <a:ln w="9525" cap="flat">
                <a:noFill/>
                <a:prstDash val="solid"/>
                <a:miter/>
              </a:ln>
            </p:spPr>
            <p:txBody>
              <a:bodyPr rtlCol="0" anchor="ctr"/>
              <a:lstStyle/>
              <a:p>
                <a:endParaRPr lang="en-US" dirty="0"/>
              </a:p>
            </p:txBody>
          </p:sp>
        </p:grpSp>
      </p:grpSp>
      <p:sp>
        <p:nvSpPr>
          <p:cNvPr id="81" name="Textplatzhalter 2">
            <a:extLst>
              <a:ext uri="{FF2B5EF4-FFF2-40B4-BE49-F238E27FC236}">
                <a16:creationId xmlns:a16="http://schemas.microsoft.com/office/drawing/2014/main" id="{3B368F24-D785-F603-A896-DA0500C6B92E}"/>
              </a:ext>
            </a:extLst>
          </p:cNvPr>
          <p:cNvSpPr txBox="1">
            <a:spLocks/>
          </p:cNvSpPr>
          <p:nvPr/>
        </p:nvSpPr>
        <p:spPr>
          <a:xfrm>
            <a:off x="3301487" y="2037064"/>
            <a:ext cx="1973850" cy="563842"/>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dirty="0">
                <a:ln>
                  <a:noFill/>
                </a:ln>
                <a:solidFill>
                  <a:srgbClr val="004A96"/>
                </a:solidFill>
                <a:effectLst/>
                <a:uLnTx/>
                <a:uFillTx/>
                <a:cs typeface="Arial"/>
              </a:rPr>
              <a:t>€</a:t>
            </a:r>
            <a:r>
              <a:rPr kumimoji="0" lang="en-US" sz="3000" b="1" i="0" u="none" strike="noStrike" kern="1200" cap="none" spc="0" normalizeH="0" baseline="0" dirty="0">
                <a:ln>
                  <a:noFill/>
                </a:ln>
                <a:solidFill>
                  <a:srgbClr val="004A96"/>
                </a:solidFill>
                <a:effectLst/>
                <a:uLnTx/>
                <a:uFillTx/>
                <a:cs typeface="Arial"/>
              </a:rPr>
              <a:t>4.4</a:t>
            </a:r>
            <a:r>
              <a:rPr kumimoji="0" lang="en-US" sz="2200" b="1" i="0" u="none" strike="noStrike" kern="1200" cap="none" spc="0" normalizeH="0" baseline="0" dirty="0">
                <a:ln>
                  <a:noFill/>
                </a:ln>
                <a:solidFill>
                  <a:srgbClr val="004A96"/>
                </a:solidFill>
                <a:effectLst/>
                <a:uLnTx/>
                <a:uFillTx/>
                <a:cs typeface="Arial"/>
              </a:rPr>
              <a:t>bn</a:t>
            </a:r>
          </a:p>
        </p:txBody>
      </p:sp>
      <p:sp>
        <p:nvSpPr>
          <p:cNvPr id="82" name="Textplatzhalter 2">
            <a:extLst>
              <a:ext uri="{FF2B5EF4-FFF2-40B4-BE49-F238E27FC236}">
                <a16:creationId xmlns:a16="http://schemas.microsoft.com/office/drawing/2014/main" id="{A6CF7ACE-5D30-94A4-54CB-2E5198ED1309}"/>
              </a:ext>
            </a:extLst>
          </p:cNvPr>
          <p:cNvSpPr txBox="1">
            <a:spLocks/>
          </p:cNvSpPr>
          <p:nvPr/>
        </p:nvSpPr>
        <p:spPr>
          <a:xfrm>
            <a:off x="3459443" y="1916832"/>
            <a:ext cx="1798672"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000000"/>
                </a:solidFill>
                <a:effectLst/>
                <a:uLnTx/>
                <a:uFillTx/>
                <a:cs typeface="Arial"/>
              </a:rPr>
              <a:t>Sales</a:t>
            </a:r>
            <a:br>
              <a:rPr kumimoji="0" lang="en-US" sz="1400" b="1" i="0" u="none" strike="noStrike" kern="1200" cap="none" spc="0" normalizeH="0" baseline="0" dirty="0">
                <a:ln>
                  <a:noFill/>
                </a:ln>
                <a:solidFill>
                  <a:srgbClr val="000000"/>
                </a:solidFill>
                <a:effectLst/>
                <a:uLnTx/>
                <a:uFillTx/>
                <a:cs typeface="Arial"/>
              </a:rPr>
            </a:br>
            <a:r>
              <a:rPr kumimoji="0" lang="en-US" sz="1200" b="0" i="0" u="none" strike="noStrike" kern="1200" cap="none" spc="0" normalizeH="0" baseline="0" dirty="0">
                <a:ln>
                  <a:noFill/>
                </a:ln>
                <a:solidFill>
                  <a:srgbClr val="000000"/>
                </a:solidFill>
                <a:effectLst/>
                <a:uLnTx/>
                <a:uFillTx/>
                <a:cs typeface="Arial"/>
              </a:rPr>
              <a:t>2023</a:t>
            </a:r>
          </a:p>
        </p:txBody>
      </p:sp>
      <p:sp>
        <p:nvSpPr>
          <p:cNvPr id="83" name="Textplatzhalter 2">
            <a:extLst>
              <a:ext uri="{FF2B5EF4-FFF2-40B4-BE49-F238E27FC236}">
                <a16:creationId xmlns:a16="http://schemas.microsoft.com/office/drawing/2014/main" id="{0F2ACFCD-BA08-B393-C119-F8646151DC27}"/>
              </a:ext>
            </a:extLst>
          </p:cNvPr>
          <p:cNvSpPr txBox="1">
            <a:spLocks/>
          </p:cNvSpPr>
          <p:nvPr/>
        </p:nvSpPr>
        <p:spPr>
          <a:xfrm>
            <a:off x="3311012" y="3064226"/>
            <a:ext cx="1973850" cy="563842"/>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dirty="0">
                <a:ln>
                  <a:noFill/>
                </a:ln>
                <a:solidFill>
                  <a:srgbClr val="004A96"/>
                </a:solidFill>
                <a:effectLst/>
                <a:uLnTx/>
                <a:uFillTx/>
                <a:cs typeface="Arial"/>
              </a:rPr>
              <a:t>12</a:t>
            </a:r>
            <a:r>
              <a:rPr kumimoji="0" lang="en-US" sz="2200" b="1" i="0" u="none" strike="noStrike" kern="1200" cap="none" spc="0" normalizeH="0" baseline="0" dirty="0">
                <a:ln>
                  <a:noFill/>
                </a:ln>
                <a:solidFill>
                  <a:srgbClr val="004A96"/>
                </a:solidFill>
                <a:effectLst/>
                <a:uLnTx/>
                <a:uFillTx/>
                <a:cs typeface="Arial"/>
              </a:rPr>
              <a:t>%</a:t>
            </a:r>
          </a:p>
        </p:txBody>
      </p:sp>
      <p:sp>
        <p:nvSpPr>
          <p:cNvPr id="84" name="Textplatzhalter 2">
            <a:extLst>
              <a:ext uri="{FF2B5EF4-FFF2-40B4-BE49-F238E27FC236}">
                <a16:creationId xmlns:a16="http://schemas.microsoft.com/office/drawing/2014/main" id="{42A6762B-3184-6D21-6B2F-0A2BC8E88CA7}"/>
              </a:ext>
            </a:extLst>
          </p:cNvPr>
          <p:cNvSpPr txBox="1">
            <a:spLocks/>
          </p:cNvSpPr>
          <p:nvPr/>
        </p:nvSpPr>
        <p:spPr>
          <a:xfrm>
            <a:off x="3468968" y="2816932"/>
            <a:ext cx="1798672"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000000"/>
                </a:solidFill>
                <a:effectLst/>
                <a:uLnTx/>
                <a:uFillTx/>
                <a:cs typeface="Arial"/>
              </a:rPr>
              <a:t>Annual sales</a:t>
            </a:r>
            <a:br>
              <a:rPr kumimoji="0" lang="en-US" sz="1400" b="1" i="0" u="none" strike="noStrike" kern="1200" cap="none" spc="0" normalizeH="0" baseline="0" dirty="0">
                <a:ln>
                  <a:noFill/>
                </a:ln>
                <a:solidFill>
                  <a:srgbClr val="000000"/>
                </a:solidFill>
                <a:effectLst/>
                <a:uLnTx/>
                <a:uFillTx/>
                <a:cs typeface="Arial"/>
              </a:rPr>
            </a:br>
            <a:r>
              <a:rPr kumimoji="0" lang="en-US" sz="1400" b="1" i="0" u="none" strike="noStrike" kern="1200" cap="none" spc="0" normalizeH="0" baseline="0" dirty="0">
                <a:ln>
                  <a:noFill/>
                </a:ln>
                <a:solidFill>
                  <a:srgbClr val="000000"/>
                </a:solidFill>
                <a:effectLst/>
                <a:uLnTx/>
                <a:uFillTx/>
                <a:cs typeface="Arial"/>
              </a:rPr>
              <a:t>growth</a:t>
            </a:r>
            <a:br>
              <a:rPr kumimoji="0" lang="en-US" sz="1600" b="1" i="0" u="none" strike="noStrike" kern="1200" cap="none" spc="0" normalizeH="0" baseline="0" dirty="0">
                <a:ln>
                  <a:noFill/>
                </a:ln>
                <a:solidFill>
                  <a:srgbClr val="000000"/>
                </a:solidFill>
                <a:effectLst/>
                <a:uLnTx/>
                <a:uFillTx/>
                <a:cs typeface="Arial"/>
              </a:rPr>
            </a:br>
            <a:r>
              <a:rPr kumimoji="0" lang="en-US" sz="1200" b="0" i="0" u="none" strike="noStrike" kern="1200" cap="none" spc="0" normalizeH="0" baseline="0" dirty="0">
                <a:ln>
                  <a:noFill/>
                </a:ln>
                <a:solidFill>
                  <a:srgbClr val="000000"/>
                </a:solidFill>
                <a:effectLst/>
                <a:uLnTx/>
                <a:uFillTx/>
                <a:cs typeface="Arial"/>
              </a:rPr>
              <a:t>(5-y-avg.)</a:t>
            </a:r>
          </a:p>
        </p:txBody>
      </p:sp>
      <p:sp>
        <p:nvSpPr>
          <p:cNvPr id="85" name="Textplatzhalter 2">
            <a:extLst>
              <a:ext uri="{FF2B5EF4-FFF2-40B4-BE49-F238E27FC236}">
                <a16:creationId xmlns:a16="http://schemas.microsoft.com/office/drawing/2014/main" id="{007235ED-22FE-3E12-DE92-F47899E0A5CC}"/>
              </a:ext>
            </a:extLst>
          </p:cNvPr>
          <p:cNvSpPr txBox="1">
            <a:spLocks/>
          </p:cNvSpPr>
          <p:nvPr/>
        </p:nvSpPr>
        <p:spPr>
          <a:xfrm>
            <a:off x="3320537" y="4091388"/>
            <a:ext cx="1973850" cy="563842"/>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dirty="0">
                <a:ln>
                  <a:noFill/>
                </a:ln>
                <a:solidFill>
                  <a:srgbClr val="004A96"/>
                </a:solidFill>
                <a:effectLst/>
                <a:uLnTx/>
                <a:uFillTx/>
                <a:cs typeface="Arial"/>
              </a:rPr>
              <a:t>12</a:t>
            </a:r>
            <a:r>
              <a:rPr kumimoji="0" lang="en-US" sz="2200" b="1" i="0" u="none" strike="noStrike" kern="1200" cap="none" spc="0" normalizeH="0" baseline="0" dirty="0">
                <a:ln>
                  <a:noFill/>
                </a:ln>
                <a:solidFill>
                  <a:srgbClr val="004A96"/>
                </a:solidFill>
                <a:effectLst/>
                <a:uLnTx/>
                <a:uFillTx/>
                <a:cs typeface="Arial"/>
              </a:rPr>
              <a:t>%</a:t>
            </a:r>
          </a:p>
        </p:txBody>
      </p:sp>
      <p:sp>
        <p:nvSpPr>
          <p:cNvPr id="86" name="Textplatzhalter 2">
            <a:extLst>
              <a:ext uri="{FF2B5EF4-FFF2-40B4-BE49-F238E27FC236}">
                <a16:creationId xmlns:a16="http://schemas.microsoft.com/office/drawing/2014/main" id="{72CA5F0C-406E-0A92-9271-F0F2DFA12305}"/>
              </a:ext>
            </a:extLst>
          </p:cNvPr>
          <p:cNvSpPr txBox="1">
            <a:spLocks/>
          </p:cNvSpPr>
          <p:nvPr/>
        </p:nvSpPr>
        <p:spPr>
          <a:xfrm>
            <a:off x="3478493" y="3825044"/>
            <a:ext cx="1798672" cy="223327"/>
          </a:xfrm>
          <a:prstGeom prst="rect">
            <a:avLst/>
          </a:prstGeom>
          <a:noFill/>
        </p:spPr>
        <p:txBody>
          <a:bodyPr vert="horz" lIns="0" tIns="0" rIns="0" bIns="0" rtlCol="0" anchor="t"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000000"/>
                </a:solidFill>
                <a:effectLst/>
                <a:uLnTx/>
                <a:uFillTx/>
                <a:cs typeface="Arial"/>
              </a:rPr>
              <a:t>EBITDA-</a:t>
            </a:r>
            <a:br>
              <a:rPr kumimoji="0" lang="en-US" sz="1400" b="1" i="0" u="none" strike="noStrike" kern="1200" cap="none" spc="0" normalizeH="0" baseline="0" dirty="0">
                <a:ln>
                  <a:noFill/>
                </a:ln>
                <a:solidFill>
                  <a:srgbClr val="000000"/>
                </a:solidFill>
                <a:effectLst/>
                <a:uLnTx/>
                <a:uFillTx/>
                <a:cs typeface="Arial"/>
              </a:rPr>
            </a:br>
            <a:r>
              <a:rPr kumimoji="0" lang="en-US" sz="1400" b="1" i="0" u="none" strike="noStrike" kern="1200" cap="none" spc="0" normalizeH="0" baseline="0" dirty="0">
                <a:ln>
                  <a:noFill/>
                </a:ln>
                <a:solidFill>
                  <a:srgbClr val="000000"/>
                </a:solidFill>
                <a:effectLst/>
                <a:uLnTx/>
                <a:uFillTx/>
                <a:cs typeface="Arial"/>
              </a:rPr>
              <a:t>Margin</a:t>
            </a:r>
            <a:br>
              <a:rPr kumimoji="0" lang="en-US" sz="1600" b="1" i="0" u="none" strike="noStrike" kern="1200" cap="none" spc="0" normalizeH="0" baseline="0" dirty="0">
                <a:ln>
                  <a:noFill/>
                </a:ln>
                <a:solidFill>
                  <a:srgbClr val="000000"/>
                </a:solidFill>
                <a:effectLst/>
                <a:uLnTx/>
                <a:uFillTx/>
                <a:cs typeface="Arial"/>
              </a:rPr>
            </a:br>
            <a:r>
              <a:rPr kumimoji="0" lang="en-US" sz="1200" b="0" i="0" u="none" strike="noStrike" kern="1200" cap="none" spc="0" normalizeH="0" baseline="0" dirty="0">
                <a:ln>
                  <a:noFill/>
                </a:ln>
                <a:solidFill>
                  <a:srgbClr val="000000"/>
                </a:solidFill>
                <a:effectLst/>
                <a:uLnTx/>
                <a:uFillTx/>
                <a:cs typeface="Arial"/>
              </a:rPr>
              <a:t>(5-y-avg.)</a:t>
            </a:r>
          </a:p>
        </p:txBody>
      </p:sp>
      <p:sp>
        <p:nvSpPr>
          <p:cNvPr id="87" name="Textplatzhalter 2">
            <a:extLst>
              <a:ext uri="{FF2B5EF4-FFF2-40B4-BE49-F238E27FC236}">
                <a16:creationId xmlns:a16="http://schemas.microsoft.com/office/drawing/2014/main" id="{8E323923-56D2-71B5-D838-2A7366109530}"/>
              </a:ext>
            </a:extLst>
          </p:cNvPr>
          <p:cNvSpPr txBox="1">
            <a:spLocks/>
          </p:cNvSpPr>
          <p:nvPr/>
        </p:nvSpPr>
        <p:spPr>
          <a:xfrm>
            <a:off x="3330062" y="5118550"/>
            <a:ext cx="1973850" cy="563842"/>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rgbClr val="004A96"/>
                </a:solidFill>
                <a:effectLst/>
                <a:uLnTx/>
                <a:uFillTx/>
                <a:cs typeface="Arial"/>
              </a:rPr>
              <a:t>~</a:t>
            </a:r>
            <a:r>
              <a:rPr kumimoji="0" lang="en-US" sz="3000" b="1" i="0" u="none" strike="noStrike" kern="1200" cap="none" spc="0" normalizeH="0" baseline="0" dirty="0">
                <a:ln>
                  <a:noFill/>
                </a:ln>
                <a:solidFill>
                  <a:srgbClr val="004A96"/>
                </a:solidFill>
                <a:effectLst/>
                <a:uLnTx/>
                <a:uFillTx/>
                <a:cs typeface="Arial"/>
              </a:rPr>
              <a:t>36</a:t>
            </a:r>
            <a:r>
              <a:rPr kumimoji="0" lang="en-US" sz="2200" b="1" i="0" u="none" strike="noStrike" kern="1200" cap="none" spc="0" normalizeH="0" baseline="0" dirty="0">
                <a:ln>
                  <a:noFill/>
                </a:ln>
                <a:solidFill>
                  <a:srgbClr val="004A96"/>
                </a:solidFill>
                <a:effectLst/>
                <a:uLnTx/>
                <a:uFillTx/>
                <a:cs typeface="Arial"/>
              </a:rPr>
              <a:t>%</a:t>
            </a:r>
          </a:p>
        </p:txBody>
      </p:sp>
      <p:grpSp>
        <p:nvGrpSpPr>
          <p:cNvPr id="88" name="Gruppieren 87">
            <a:extLst>
              <a:ext uri="{FF2B5EF4-FFF2-40B4-BE49-F238E27FC236}">
                <a16:creationId xmlns:a16="http://schemas.microsoft.com/office/drawing/2014/main" id="{49D0A512-A1C9-7C95-B143-568FFB778E70}"/>
              </a:ext>
            </a:extLst>
          </p:cNvPr>
          <p:cNvGrpSpPr/>
          <p:nvPr/>
        </p:nvGrpSpPr>
        <p:grpSpPr>
          <a:xfrm>
            <a:off x="2915309" y="3790873"/>
            <a:ext cx="465957" cy="468000"/>
            <a:chOff x="243288" y="4869160"/>
            <a:chExt cx="465957" cy="468000"/>
          </a:xfrm>
        </p:grpSpPr>
        <p:sp>
          <p:nvSpPr>
            <p:cNvPr id="89" name="Freihandform: Form 88">
              <a:extLst>
                <a:ext uri="{FF2B5EF4-FFF2-40B4-BE49-F238E27FC236}">
                  <a16:creationId xmlns:a16="http://schemas.microsoft.com/office/drawing/2014/main" id="{FDD2AEE3-0A99-D757-2329-FEC36ADFF601}"/>
                </a:ext>
              </a:extLst>
            </p:cNvPr>
            <p:cNvSpPr/>
            <p:nvPr/>
          </p:nvSpPr>
          <p:spPr>
            <a:xfrm>
              <a:off x="243288" y="4869160"/>
              <a:ext cx="465957" cy="468000"/>
            </a:xfrm>
            <a:custGeom>
              <a:avLst/>
              <a:gdLst>
                <a:gd name="connsiteX0" fmla="*/ 369284 w 369284"/>
                <a:gd name="connsiteY0" fmla="*/ 341948 h 370903"/>
                <a:gd name="connsiteX1" fmla="*/ 331946 w 369284"/>
                <a:gd name="connsiteY1" fmla="*/ 312896 h 370903"/>
                <a:gd name="connsiteX2" fmla="*/ 331946 w 369284"/>
                <a:gd name="connsiteY2" fmla="*/ 335280 h 370903"/>
                <a:gd name="connsiteX3" fmla="*/ 36290 w 369284"/>
                <a:gd name="connsiteY3" fmla="*/ 335280 h 370903"/>
                <a:gd name="connsiteX4" fmla="*/ 36290 w 369284"/>
                <a:gd name="connsiteY4" fmla="*/ 38005 h 370903"/>
                <a:gd name="connsiteX5" fmla="*/ 57055 w 369284"/>
                <a:gd name="connsiteY5" fmla="*/ 38005 h 370903"/>
                <a:gd name="connsiteX6" fmla="*/ 28575 w 369284"/>
                <a:gd name="connsiteY6" fmla="*/ 0 h 370903"/>
                <a:gd name="connsiteX7" fmla="*/ 0 w 369284"/>
                <a:gd name="connsiteY7" fmla="*/ 38005 h 370903"/>
                <a:gd name="connsiteX8" fmla="*/ 21622 w 369284"/>
                <a:gd name="connsiteY8" fmla="*/ 38005 h 370903"/>
                <a:gd name="connsiteX9" fmla="*/ 21622 w 369284"/>
                <a:gd name="connsiteY9" fmla="*/ 335280 h 370903"/>
                <a:gd name="connsiteX10" fmla="*/ 21622 w 369284"/>
                <a:gd name="connsiteY10" fmla="*/ 350234 h 370903"/>
                <a:gd name="connsiteX11" fmla="*/ 36290 w 369284"/>
                <a:gd name="connsiteY11" fmla="*/ 350234 h 370903"/>
                <a:gd name="connsiteX12" fmla="*/ 331946 w 369284"/>
                <a:gd name="connsiteY12" fmla="*/ 350234 h 370903"/>
                <a:gd name="connsiteX13" fmla="*/ 331946 w 369284"/>
                <a:gd name="connsiteY13" fmla="*/ 370904 h 370903"/>
                <a:gd name="connsiteX14" fmla="*/ 369284 w 369284"/>
                <a:gd name="connsiteY14" fmla="*/ 341948 h 3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9284" h="370903">
                  <a:moveTo>
                    <a:pt x="369284" y="341948"/>
                  </a:moveTo>
                  <a:lnTo>
                    <a:pt x="331946" y="312896"/>
                  </a:lnTo>
                  <a:lnTo>
                    <a:pt x="331946" y="335280"/>
                  </a:lnTo>
                  <a:lnTo>
                    <a:pt x="36290" y="335280"/>
                  </a:lnTo>
                  <a:lnTo>
                    <a:pt x="36290" y="38005"/>
                  </a:lnTo>
                  <a:lnTo>
                    <a:pt x="57055" y="38005"/>
                  </a:lnTo>
                  <a:lnTo>
                    <a:pt x="28575" y="0"/>
                  </a:lnTo>
                  <a:lnTo>
                    <a:pt x="0" y="38005"/>
                  </a:lnTo>
                  <a:lnTo>
                    <a:pt x="21622" y="38005"/>
                  </a:lnTo>
                  <a:lnTo>
                    <a:pt x="21622" y="335280"/>
                  </a:lnTo>
                  <a:lnTo>
                    <a:pt x="21622" y="350234"/>
                  </a:lnTo>
                  <a:lnTo>
                    <a:pt x="36290" y="350234"/>
                  </a:lnTo>
                  <a:lnTo>
                    <a:pt x="331946" y="350234"/>
                  </a:lnTo>
                  <a:lnTo>
                    <a:pt x="331946" y="370904"/>
                  </a:lnTo>
                  <a:lnTo>
                    <a:pt x="369284" y="341948"/>
                  </a:lnTo>
                  <a:close/>
                </a:path>
              </a:pathLst>
            </a:custGeom>
            <a:solidFill>
              <a:srgbClr val="21A0D2"/>
            </a:solidFill>
            <a:ln w="9525" cap="flat">
              <a:noFill/>
              <a:prstDash val="solid"/>
              <a:miter/>
            </a:ln>
          </p:spPr>
          <p:txBody>
            <a:bodyPr rtlCol="0" anchor="ctr"/>
            <a:lstStyle/>
            <a:p>
              <a:endParaRPr lang="en-US" dirty="0"/>
            </a:p>
          </p:txBody>
        </p:sp>
        <p:sp>
          <p:nvSpPr>
            <p:cNvPr id="90" name="Freihandform: Form 89">
              <a:extLst>
                <a:ext uri="{FF2B5EF4-FFF2-40B4-BE49-F238E27FC236}">
                  <a16:creationId xmlns:a16="http://schemas.microsoft.com/office/drawing/2014/main" id="{5E260065-AE39-C1A2-2EA5-A75518EA7C25}"/>
                </a:ext>
              </a:extLst>
            </p:cNvPr>
            <p:cNvSpPr/>
            <p:nvPr/>
          </p:nvSpPr>
          <p:spPr>
            <a:xfrm>
              <a:off x="314557" y="4994272"/>
              <a:ext cx="363919" cy="214770"/>
            </a:xfrm>
            <a:custGeom>
              <a:avLst/>
              <a:gdLst>
                <a:gd name="connsiteX0" fmla="*/ 0 w 288416"/>
                <a:gd name="connsiteY0" fmla="*/ 140970 h 170211"/>
                <a:gd name="connsiteX1" fmla="*/ 63437 w 288416"/>
                <a:gd name="connsiteY1" fmla="*/ 170212 h 170211"/>
                <a:gd name="connsiteX2" fmla="*/ 63437 w 288416"/>
                <a:gd name="connsiteY2" fmla="*/ 170117 h 170211"/>
                <a:gd name="connsiteX3" fmla="*/ 63532 w 288416"/>
                <a:gd name="connsiteY3" fmla="*/ 170212 h 170211"/>
                <a:gd name="connsiteX4" fmla="*/ 113538 w 288416"/>
                <a:gd name="connsiteY4" fmla="*/ 108204 h 170211"/>
                <a:gd name="connsiteX5" fmla="*/ 187738 w 288416"/>
                <a:gd name="connsiteY5" fmla="*/ 135636 h 170211"/>
                <a:gd name="connsiteX6" fmla="*/ 187738 w 288416"/>
                <a:gd name="connsiteY6" fmla="*/ 135636 h 170211"/>
                <a:gd name="connsiteX7" fmla="*/ 288417 w 288416"/>
                <a:gd name="connsiteY7" fmla="*/ 18098 h 170211"/>
                <a:gd name="connsiteX8" fmla="*/ 267938 w 288416"/>
                <a:gd name="connsiteY8" fmla="*/ 0 h 170211"/>
                <a:gd name="connsiteX9" fmla="*/ 179451 w 288416"/>
                <a:gd name="connsiteY9" fmla="*/ 103156 h 170211"/>
                <a:gd name="connsiteX10" fmla="*/ 104966 w 288416"/>
                <a:gd name="connsiteY10" fmla="*/ 75629 h 170211"/>
                <a:gd name="connsiteX11" fmla="*/ 104870 w 288416"/>
                <a:gd name="connsiteY11" fmla="*/ 75819 h 170211"/>
                <a:gd name="connsiteX12" fmla="*/ 104680 w 288416"/>
                <a:gd name="connsiteY12" fmla="*/ 75629 h 170211"/>
                <a:gd name="connsiteX13" fmla="*/ 55721 w 288416"/>
                <a:gd name="connsiteY13" fmla="*/ 136303 h 170211"/>
                <a:gd name="connsiteX14" fmla="*/ 11240 w 288416"/>
                <a:gd name="connsiteY14" fmla="*/ 115824 h 170211"/>
                <a:gd name="connsiteX15" fmla="*/ 0 w 288416"/>
                <a:gd name="connsiteY15" fmla="*/ 140970 h 1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416" h="170211">
                  <a:moveTo>
                    <a:pt x="0" y="140970"/>
                  </a:moveTo>
                  <a:lnTo>
                    <a:pt x="63437" y="170212"/>
                  </a:lnTo>
                  <a:lnTo>
                    <a:pt x="63437" y="170117"/>
                  </a:lnTo>
                  <a:lnTo>
                    <a:pt x="63532" y="170212"/>
                  </a:lnTo>
                  <a:lnTo>
                    <a:pt x="113538" y="108204"/>
                  </a:lnTo>
                  <a:lnTo>
                    <a:pt x="187738" y="135636"/>
                  </a:lnTo>
                  <a:lnTo>
                    <a:pt x="187738" y="135636"/>
                  </a:lnTo>
                  <a:lnTo>
                    <a:pt x="288417" y="18098"/>
                  </a:lnTo>
                  <a:lnTo>
                    <a:pt x="267938" y="0"/>
                  </a:lnTo>
                  <a:lnTo>
                    <a:pt x="179451" y="103156"/>
                  </a:lnTo>
                  <a:lnTo>
                    <a:pt x="104966" y="75629"/>
                  </a:lnTo>
                  <a:lnTo>
                    <a:pt x="104870" y="75819"/>
                  </a:lnTo>
                  <a:lnTo>
                    <a:pt x="104680" y="75629"/>
                  </a:lnTo>
                  <a:lnTo>
                    <a:pt x="55721" y="136303"/>
                  </a:lnTo>
                  <a:lnTo>
                    <a:pt x="11240" y="115824"/>
                  </a:lnTo>
                  <a:lnTo>
                    <a:pt x="0" y="140970"/>
                  </a:lnTo>
                  <a:close/>
                </a:path>
              </a:pathLst>
            </a:custGeom>
            <a:solidFill>
              <a:srgbClr val="21A0D2"/>
            </a:solidFill>
            <a:ln w="9525" cap="flat">
              <a:noFill/>
              <a:prstDash val="solid"/>
              <a:miter/>
            </a:ln>
          </p:spPr>
          <p:txBody>
            <a:bodyPr rtlCol="0" anchor="ctr"/>
            <a:lstStyle/>
            <a:p>
              <a:endParaRPr lang="en-US" dirty="0"/>
            </a:p>
          </p:txBody>
        </p:sp>
      </p:grpSp>
      <p:sp>
        <p:nvSpPr>
          <p:cNvPr id="2" name="Titel 1">
            <a:extLst>
              <a:ext uri="{FF2B5EF4-FFF2-40B4-BE49-F238E27FC236}">
                <a16:creationId xmlns:a16="http://schemas.microsoft.com/office/drawing/2014/main" id="{41000DB6-1D8F-C23E-DB0E-D6637C1DE264}"/>
              </a:ext>
            </a:extLst>
          </p:cNvPr>
          <p:cNvSpPr>
            <a:spLocks noGrp="1"/>
          </p:cNvSpPr>
          <p:nvPr>
            <p:ph type="title"/>
          </p:nvPr>
        </p:nvSpPr>
        <p:spPr/>
        <p:txBody>
          <a:bodyPr/>
          <a:lstStyle/>
          <a:p>
            <a:r>
              <a:rPr lang="en-US" dirty="0">
                <a:latin typeface="+mn-lt"/>
              </a:rPr>
              <a:t>BASF Coatings in numbers</a:t>
            </a:r>
          </a:p>
        </p:txBody>
      </p:sp>
      <p:sp>
        <p:nvSpPr>
          <p:cNvPr id="5" name="Foliennummernplatzhalter 4">
            <a:extLst>
              <a:ext uri="{FF2B5EF4-FFF2-40B4-BE49-F238E27FC236}">
                <a16:creationId xmlns:a16="http://schemas.microsoft.com/office/drawing/2014/main" id="{C6E5E467-94DA-6C4C-E2E0-5C2D39607E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a:t>
            </a:fld>
            <a:endParaRPr kumimoji="0" lang="en-US" sz="900" b="1" i="0" u="none" strike="noStrike" kern="1200" cap="none" spc="0" normalizeH="0" baseline="0" dirty="0">
              <a:ln>
                <a:noFill/>
              </a:ln>
              <a:solidFill>
                <a:srgbClr val="000000"/>
              </a:solidFill>
              <a:effectLst/>
              <a:uLnTx/>
              <a:uFillTx/>
              <a:cs typeface="Arial"/>
            </a:endParaRPr>
          </a:p>
        </p:txBody>
      </p:sp>
      <p:pic>
        <p:nvPicPr>
          <p:cNvPr id="92" name="Grafik 91" descr="Ein Bild, das Text, Screenshot, Schrift, Electric Blue (Farbe) enthält.&#10;&#10;Automatisch generierte Beschreibung">
            <a:extLst>
              <a:ext uri="{FF2B5EF4-FFF2-40B4-BE49-F238E27FC236}">
                <a16:creationId xmlns:a16="http://schemas.microsoft.com/office/drawing/2014/main" id="{F3239555-870A-0F57-4E8E-CD31F29D5B82}"/>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600001" y="5769591"/>
            <a:ext cx="2592000" cy="862984"/>
          </a:xfrm>
          <a:prstGeom prst="rect">
            <a:avLst/>
          </a:prstGeom>
        </p:spPr>
      </p:pic>
      <p:sp>
        <p:nvSpPr>
          <p:cNvPr id="111" name="Text Box 43">
            <a:extLst>
              <a:ext uri="{FF2B5EF4-FFF2-40B4-BE49-F238E27FC236}">
                <a16:creationId xmlns:a16="http://schemas.microsoft.com/office/drawing/2014/main" id="{EC3E96B6-457A-1D2E-D880-F5A6988BFA2B}"/>
              </a:ext>
            </a:extLst>
          </p:cNvPr>
          <p:cNvSpPr txBox="1">
            <a:spLocks noChangeArrowheads="1"/>
          </p:cNvSpPr>
          <p:nvPr>
            <p:custDataLst>
              <p:tags r:id="rId1"/>
            </p:custDataLst>
          </p:nvPr>
        </p:nvSpPr>
        <p:spPr bwMode="auto">
          <a:xfrm>
            <a:off x="8465154" y="1773238"/>
            <a:ext cx="349824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200" dirty="0">
                <a:solidFill>
                  <a:schemeClr val="bg1"/>
                </a:solidFill>
                <a:latin typeface="+mn-lt"/>
                <a:cs typeface="Arial"/>
              </a:rPr>
              <a:t>Our key sites are listed below.</a:t>
            </a:r>
          </a:p>
        </p:txBody>
      </p:sp>
      <p:grpSp>
        <p:nvGrpSpPr>
          <p:cNvPr id="112" name="Gruppieren 111">
            <a:extLst>
              <a:ext uri="{FF2B5EF4-FFF2-40B4-BE49-F238E27FC236}">
                <a16:creationId xmlns:a16="http://schemas.microsoft.com/office/drawing/2014/main" id="{D2F44B12-4129-BADC-D24D-B260DBE0BD54}"/>
              </a:ext>
            </a:extLst>
          </p:cNvPr>
          <p:cNvGrpSpPr/>
          <p:nvPr/>
        </p:nvGrpSpPr>
        <p:grpSpPr>
          <a:xfrm>
            <a:off x="8472263" y="3338028"/>
            <a:ext cx="3466041" cy="540000"/>
            <a:chOff x="8472580" y="2564904"/>
            <a:chExt cx="3466041" cy="540000"/>
          </a:xfrm>
        </p:grpSpPr>
        <p:sp>
          <p:nvSpPr>
            <p:cNvPr id="113" name="Text Box 43">
              <a:extLst>
                <a:ext uri="{FF2B5EF4-FFF2-40B4-BE49-F238E27FC236}">
                  <a16:creationId xmlns:a16="http://schemas.microsoft.com/office/drawing/2014/main" id="{C43CCA52-E672-CCA5-8E6A-0CA55EFE3638}"/>
                </a:ext>
              </a:extLst>
            </p:cNvPr>
            <p:cNvSpPr txBox="1">
              <a:spLocks noChangeArrowheads="1"/>
            </p:cNvSpPr>
            <p:nvPr>
              <p:custDataLst>
                <p:tags r:id="rId8"/>
              </p:custDataLst>
            </p:nvPr>
          </p:nvSpPr>
          <p:spPr bwMode="auto">
            <a:xfrm>
              <a:off x="9526212" y="2564904"/>
              <a:ext cx="2412409"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100" dirty="0">
                  <a:solidFill>
                    <a:schemeClr val="bg1"/>
                  </a:solidFill>
                  <a:latin typeface="+mn-lt"/>
                </a:rPr>
                <a:t>Greenville, Ohio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1100" dirty="0">
                  <a:solidFill>
                    <a:schemeClr val="bg1"/>
                  </a:solidFill>
                  <a:latin typeface="+mn-lt"/>
                  <a:ea typeface="Calibri" panose="020F0502020204030204" pitchFamily="34" charset="0"/>
                  <a:cs typeface="Calibri" panose="020F0502020204030204" pitchFamily="34" charset="0"/>
                </a:rPr>
                <a:t>Guadalajara,</a:t>
              </a:r>
              <a:br>
                <a:rPr lang="en-US" sz="1100" dirty="0">
                  <a:solidFill>
                    <a:schemeClr val="bg1"/>
                  </a:solidFill>
                  <a:latin typeface="+mn-lt"/>
                  <a:ea typeface="Calibri" panose="020F0502020204030204" pitchFamily="34" charset="0"/>
                  <a:cs typeface="Calibri" panose="020F0502020204030204" pitchFamily="34" charset="0"/>
                </a:rPr>
              </a:br>
              <a:r>
                <a:rPr lang="en-US" sz="1100" dirty="0">
                  <a:solidFill>
                    <a:schemeClr val="bg1"/>
                  </a:solidFill>
                  <a:latin typeface="+mn-lt"/>
                  <a:ea typeface="Calibri" panose="020F0502020204030204" pitchFamily="34" charset="0"/>
                  <a:cs typeface="Calibri" panose="020F0502020204030204" pitchFamily="34" charset="0"/>
                </a:rPr>
                <a:t>Spain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1100" dirty="0">
                  <a:solidFill>
                    <a:schemeClr val="bg1"/>
                  </a:solidFill>
                  <a:latin typeface="+mn-lt"/>
                  <a:ea typeface="Calibri" panose="020F0502020204030204" pitchFamily="34" charset="0"/>
                  <a:cs typeface="Calibri" panose="020F0502020204030204" pitchFamily="34" charset="0"/>
                </a:rPr>
                <a:t>Muenster, Germany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1100" dirty="0">
                  <a:solidFill>
                    <a:schemeClr val="bg1"/>
                  </a:solidFill>
                  <a:latin typeface="+mn-lt"/>
                  <a:ea typeface="Calibri" panose="020F0502020204030204" pitchFamily="34" charset="0"/>
                  <a:cs typeface="Calibri" panose="020F0502020204030204" pitchFamily="34" charset="0"/>
                </a:rPr>
                <a:t>Shanghai, China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1100" dirty="0">
                  <a:solidFill>
                    <a:schemeClr val="bg1"/>
                  </a:solidFill>
                  <a:latin typeface="+mn-lt"/>
                  <a:ea typeface="Calibri" panose="020F0502020204030204" pitchFamily="34" charset="0"/>
                  <a:cs typeface="Calibri" panose="020F0502020204030204" pitchFamily="34" charset="0"/>
                </a:rPr>
                <a:t>Tultitlán, Mexico</a:t>
              </a:r>
              <a:endParaRPr lang="en-US" sz="1100" dirty="0">
                <a:solidFill>
                  <a:schemeClr val="bg1"/>
                </a:solidFill>
                <a:latin typeface="+mn-lt"/>
              </a:endParaRPr>
            </a:p>
          </p:txBody>
        </p:sp>
        <p:sp>
          <p:nvSpPr>
            <p:cNvPr id="114" name="Text Box 43">
              <a:extLst>
                <a:ext uri="{FF2B5EF4-FFF2-40B4-BE49-F238E27FC236}">
                  <a16:creationId xmlns:a16="http://schemas.microsoft.com/office/drawing/2014/main" id="{C1A8101C-04C2-AF68-DCA1-57F0DACFD2E7}"/>
                </a:ext>
              </a:extLst>
            </p:cNvPr>
            <p:cNvSpPr txBox="1">
              <a:spLocks noChangeArrowheads="1"/>
            </p:cNvSpPr>
            <p:nvPr>
              <p:custDataLst>
                <p:tags r:id="rId9"/>
              </p:custDataLst>
            </p:nvPr>
          </p:nvSpPr>
          <p:spPr bwMode="auto">
            <a:xfrm>
              <a:off x="8472580" y="2564904"/>
              <a:ext cx="899784"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200" b="1" dirty="0">
                  <a:solidFill>
                    <a:schemeClr val="bg1"/>
                  </a:solidFill>
                  <a:latin typeface="+mn-lt"/>
                </a:rPr>
                <a:t>Automotive OEM</a:t>
              </a:r>
            </a:p>
          </p:txBody>
        </p:sp>
      </p:grpSp>
      <p:grpSp>
        <p:nvGrpSpPr>
          <p:cNvPr id="115" name="Gruppieren 114">
            <a:extLst>
              <a:ext uri="{FF2B5EF4-FFF2-40B4-BE49-F238E27FC236}">
                <a16:creationId xmlns:a16="http://schemas.microsoft.com/office/drawing/2014/main" id="{3B34AFFB-DFCA-92E8-F6B8-1913F85C2F80}"/>
              </a:ext>
            </a:extLst>
          </p:cNvPr>
          <p:cNvGrpSpPr/>
          <p:nvPr/>
        </p:nvGrpSpPr>
        <p:grpSpPr>
          <a:xfrm>
            <a:off x="8472264" y="4746707"/>
            <a:ext cx="3466041" cy="396001"/>
            <a:chOff x="8472580" y="3284958"/>
            <a:chExt cx="3466041" cy="396001"/>
          </a:xfrm>
        </p:grpSpPr>
        <p:sp>
          <p:nvSpPr>
            <p:cNvPr id="116" name="Text Box 43">
              <a:extLst>
                <a:ext uri="{FF2B5EF4-FFF2-40B4-BE49-F238E27FC236}">
                  <a16:creationId xmlns:a16="http://schemas.microsoft.com/office/drawing/2014/main" id="{D4388439-4D6B-A06D-F3DC-4C093B1E6F2C}"/>
                </a:ext>
              </a:extLst>
            </p:cNvPr>
            <p:cNvSpPr txBox="1">
              <a:spLocks noChangeArrowheads="1"/>
            </p:cNvSpPr>
            <p:nvPr>
              <p:custDataLst>
                <p:tags r:id="rId6"/>
              </p:custDataLst>
            </p:nvPr>
          </p:nvSpPr>
          <p:spPr bwMode="auto">
            <a:xfrm>
              <a:off x="9526212" y="3284959"/>
              <a:ext cx="2412409"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100" dirty="0">
                  <a:solidFill>
                    <a:schemeClr val="bg1"/>
                  </a:solidFill>
                  <a:latin typeface="+mn-lt"/>
                </a:rPr>
                <a:t>Demarchi, and Jaboat</a:t>
              </a:r>
              <a:r>
                <a:rPr lang="en-US" sz="1100" dirty="0">
                  <a:solidFill>
                    <a:schemeClr val="bg1"/>
                  </a:solidFill>
                  <a:latin typeface="+mn-lt"/>
                  <a:ea typeface="Calibri" panose="020F0502020204030204" pitchFamily="34" charset="0"/>
                  <a:cs typeface="Calibri" panose="020F0502020204030204" pitchFamily="34" charset="0"/>
                </a:rPr>
                <a:t>ăo, Brazil</a:t>
              </a:r>
              <a:endParaRPr lang="en-US" sz="1100" dirty="0">
                <a:solidFill>
                  <a:schemeClr val="bg1"/>
                </a:solidFill>
                <a:latin typeface="+mn-lt"/>
              </a:endParaRPr>
            </a:p>
          </p:txBody>
        </p:sp>
        <p:sp>
          <p:nvSpPr>
            <p:cNvPr id="117" name="Text Box 43">
              <a:extLst>
                <a:ext uri="{FF2B5EF4-FFF2-40B4-BE49-F238E27FC236}">
                  <a16:creationId xmlns:a16="http://schemas.microsoft.com/office/drawing/2014/main" id="{92CF3A86-B82D-2474-C293-453CA6343DF7}"/>
                </a:ext>
              </a:extLst>
            </p:cNvPr>
            <p:cNvSpPr txBox="1">
              <a:spLocks noChangeArrowheads="1"/>
            </p:cNvSpPr>
            <p:nvPr>
              <p:custDataLst>
                <p:tags r:id="rId7"/>
              </p:custDataLst>
            </p:nvPr>
          </p:nvSpPr>
          <p:spPr bwMode="auto">
            <a:xfrm>
              <a:off x="8472580" y="3284958"/>
              <a:ext cx="899784"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200" b="1" dirty="0">
                  <a:solidFill>
                    <a:schemeClr val="bg1"/>
                  </a:solidFill>
                  <a:latin typeface="+mn-lt"/>
                  <a:cs typeface="Arial"/>
                </a:rPr>
                <a:t>Decorative Paints</a:t>
              </a:r>
              <a:endParaRPr lang="en-US" sz="1200" b="1" dirty="0">
                <a:solidFill>
                  <a:schemeClr val="bg1"/>
                </a:solidFill>
                <a:latin typeface="+mn-lt"/>
              </a:endParaRPr>
            </a:p>
          </p:txBody>
        </p:sp>
      </p:grpSp>
      <p:grpSp>
        <p:nvGrpSpPr>
          <p:cNvPr id="118" name="Gruppieren 117">
            <a:extLst>
              <a:ext uri="{FF2B5EF4-FFF2-40B4-BE49-F238E27FC236}">
                <a16:creationId xmlns:a16="http://schemas.microsoft.com/office/drawing/2014/main" id="{95CBC963-E3F9-91AD-4B58-3F3B251A7FDD}"/>
              </a:ext>
            </a:extLst>
          </p:cNvPr>
          <p:cNvGrpSpPr/>
          <p:nvPr/>
        </p:nvGrpSpPr>
        <p:grpSpPr>
          <a:xfrm>
            <a:off x="8472580" y="4004452"/>
            <a:ext cx="3466041" cy="540002"/>
            <a:chOff x="8472580" y="3861012"/>
            <a:chExt cx="3466041" cy="540002"/>
          </a:xfrm>
        </p:grpSpPr>
        <p:sp>
          <p:nvSpPr>
            <p:cNvPr id="119" name="Text Box 43">
              <a:extLst>
                <a:ext uri="{FF2B5EF4-FFF2-40B4-BE49-F238E27FC236}">
                  <a16:creationId xmlns:a16="http://schemas.microsoft.com/office/drawing/2014/main" id="{EA2D56A3-456B-4ED8-F058-428753DE6A4A}"/>
                </a:ext>
              </a:extLst>
            </p:cNvPr>
            <p:cNvSpPr txBox="1">
              <a:spLocks noChangeArrowheads="1"/>
            </p:cNvSpPr>
            <p:nvPr>
              <p:custDataLst>
                <p:tags r:id="rId4"/>
              </p:custDataLst>
            </p:nvPr>
          </p:nvSpPr>
          <p:spPr bwMode="auto">
            <a:xfrm>
              <a:off x="9526212" y="3861014"/>
              <a:ext cx="2412409"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100" dirty="0">
                  <a:solidFill>
                    <a:schemeClr val="bg1"/>
                  </a:solidFill>
                  <a:latin typeface="+mn-lt"/>
                </a:rPr>
                <a:t>Clermont de l‘Oise, France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a:t>
              </a:r>
              <a:b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br>
              <a:r>
                <a:rPr lang="en-US" sz="1100" dirty="0">
                  <a:solidFill>
                    <a:schemeClr val="bg1"/>
                  </a:solidFill>
                  <a:latin typeface="+mn-lt"/>
                  <a:ea typeface="Calibri" panose="020F0502020204030204" pitchFamily="34" charset="0"/>
                  <a:cs typeface="Calibri" panose="020F0502020204030204" pitchFamily="34" charset="0"/>
                </a:rPr>
                <a:t>Jiangmen, China </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1100" dirty="0">
                  <a:solidFill>
                    <a:schemeClr val="bg1"/>
                  </a:solidFill>
                  <a:latin typeface="+mn-lt"/>
                  <a:ea typeface="Calibri" panose="020F0502020204030204" pitchFamily="34" charset="0"/>
                  <a:cs typeface="Calibri" panose="020F0502020204030204" pitchFamily="34" charset="0"/>
                </a:rPr>
                <a:t>Muenster,</a:t>
              </a:r>
              <a:br>
                <a:rPr lang="en-US" sz="1100" dirty="0">
                  <a:solidFill>
                    <a:schemeClr val="bg1"/>
                  </a:solidFill>
                  <a:latin typeface="+mn-lt"/>
                  <a:ea typeface="Calibri" panose="020F0502020204030204" pitchFamily="34" charset="0"/>
                  <a:cs typeface="Calibri" panose="020F0502020204030204" pitchFamily="34" charset="0"/>
                </a:rPr>
              </a:br>
              <a:r>
                <a:rPr lang="en-US" sz="1100" dirty="0">
                  <a:solidFill>
                    <a:schemeClr val="bg1"/>
                  </a:solidFill>
                  <a:latin typeface="+mn-lt"/>
                  <a:ea typeface="Calibri" panose="020F0502020204030204" pitchFamily="34" charset="0"/>
                  <a:cs typeface="Calibri" panose="020F0502020204030204" pitchFamily="34" charset="0"/>
                </a:rPr>
                <a:t>Germany</a:t>
              </a:r>
              <a:r>
                <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rPr>
                <a:t> │ </a:t>
              </a:r>
              <a:r>
                <a:rPr lang="en-US" sz="1100" dirty="0">
                  <a:solidFill>
                    <a:schemeClr val="bg1"/>
                  </a:solidFill>
                  <a:latin typeface="+mn-lt"/>
                  <a:ea typeface="Calibri" panose="020F0502020204030204" pitchFamily="34" charset="0"/>
                  <a:cs typeface="Calibri" panose="020F0502020204030204" pitchFamily="34" charset="0"/>
                </a:rPr>
                <a:t>Windsor, Canada</a:t>
              </a:r>
              <a:endParaRPr lang="en-US" sz="1100" dirty="0">
                <a:solidFill>
                  <a:schemeClr val="bg1"/>
                </a:solidFill>
                <a:latin typeface="+mn-lt"/>
              </a:endParaRPr>
            </a:p>
          </p:txBody>
        </p:sp>
        <p:sp>
          <p:nvSpPr>
            <p:cNvPr id="120" name="Text Box 43">
              <a:extLst>
                <a:ext uri="{FF2B5EF4-FFF2-40B4-BE49-F238E27FC236}">
                  <a16:creationId xmlns:a16="http://schemas.microsoft.com/office/drawing/2014/main" id="{441C4447-ADD6-753F-B188-8AD74856E460}"/>
                </a:ext>
              </a:extLst>
            </p:cNvPr>
            <p:cNvSpPr txBox="1">
              <a:spLocks noChangeArrowheads="1"/>
            </p:cNvSpPr>
            <p:nvPr>
              <p:custDataLst>
                <p:tags r:id="rId5"/>
              </p:custDataLst>
            </p:nvPr>
          </p:nvSpPr>
          <p:spPr bwMode="auto">
            <a:xfrm>
              <a:off x="8472580" y="3861012"/>
              <a:ext cx="899784"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200" b="1" dirty="0">
                  <a:solidFill>
                    <a:schemeClr val="bg1"/>
                  </a:solidFill>
                  <a:latin typeface="+mn-lt"/>
                  <a:cs typeface="Arial"/>
                </a:rPr>
                <a:t>Automotive Refinish</a:t>
              </a:r>
              <a:br>
                <a:rPr lang="en-US" sz="1200" b="1" dirty="0">
                  <a:latin typeface="+mn-lt"/>
                </a:rPr>
              </a:br>
              <a:endParaRPr lang="en-US" sz="1200" b="1" dirty="0">
                <a:solidFill>
                  <a:schemeClr val="bg1"/>
                </a:solidFill>
                <a:latin typeface="+mn-lt"/>
              </a:endParaRPr>
            </a:p>
          </p:txBody>
        </p:sp>
      </p:grpSp>
      <p:grpSp>
        <p:nvGrpSpPr>
          <p:cNvPr id="121" name="Gruppieren 120">
            <a:extLst>
              <a:ext uri="{FF2B5EF4-FFF2-40B4-BE49-F238E27FC236}">
                <a16:creationId xmlns:a16="http://schemas.microsoft.com/office/drawing/2014/main" id="{451E66B7-4D03-3D29-95B6-7E5EDCE1692D}"/>
              </a:ext>
            </a:extLst>
          </p:cNvPr>
          <p:cNvGrpSpPr/>
          <p:nvPr/>
        </p:nvGrpSpPr>
        <p:grpSpPr>
          <a:xfrm>
            <a:off x="8472580" y="2330631"/>
            <a:ext cx="3466041" cy="936000"/>
            <a:chOff x="8472580" y="4581068"/>
            <a:chExt cx="3466041" cy="936000"/>
          </a:xfrm>
        </p:grpSpPr>
        <p:sp>
          <p:nvSpPr>
            <p:cNvPr id="122" name="Text Box 43">
              <a:extLst>
                <a:ext uri="{FF2B5EF4-FFF2-40B4-BE49-F238E27FC236}">
                  <a16:creationId xmlns:a16="http://schemas.microsoft.com/office/drawing/2014/main" id="{70E20C67-B9A8-8FF9-3365-85D995108883}"/>
                </a:ext>
              </a:extLst>
            </p:cNvPr>
            <p:cNvSpPr txBox="1">
              <a:spLocks noChangeArrowheads="1"/>
            </p:cNvSpPr>
            <p:nvPr>
              <p:custDataLst>
                <p:tags r:id="rId2"/>
              </p:custDataLst>
            </p:nvPr>
          </p:nvSpPr>
          <p:spPr bwMode="auto">
            <a:xfrm>
              <a:off x="9526212" y="4581068"/>
              <a:ext cx="2412409"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100" dirty="0">
                  <a:solidFill>
                    <a:schemeClr val="bg1"/>
                  </a:solidFill>
                  <a:latin typeface="+mn-lt"/>
                  <a:cs typeface="Arial"/>
                </a:rPr>
                <a:t>Blackman Township, Michigan </a:t>
              </a:r>
              <a:r>
                <a:rPr lang="en-US" sz="1100" dirty="0">
                  <a:solidFill>
                    <a:schemeClr val="bg1"/>
                  </a:solidFill>
                  <a:latin typeface="Calibri"/>
                  <a:ea typeface="Calibri"/>
                  <a:cs typeface="Calibri"/>
                </a:rPr>
                <a:t>│</a:t>
              </a:r>
              <a:br>
                <a:rPr lang="en-US" sz="1100" dirty="0">
                  <a:latin typeface="Calibri" panose="020F0502020204030204" pitchFamily="34" charset="0"/>
                  <a:ea typeface="Calibri" panose="020F0502020204030204" pitchFamily="34" charset="0"/>
                  <a:cs typeface="Calibri" panose="020F0502020204030204" pitchFamily="34" charset="0"/>
                </a:rPr>
              </a:br>
              <a:r>
                <a:rPr lang="en-US" sz="1100" dirty="0">
                  <a:solidFill>
                    <a:schemeClr val="bg1"/>
                  </a:solidFill>
                  <a:latin typeface="+mn-lt"/>
                  <a:ea typeface="Calibri"/>
                  <a:cs typeface="Calibri"/>
                </a:rPr>
                <a:t>Canovelles, Spain </a:t>
              </a:r>
              <a:r>
                <a:rPr lang="en-US" sz="1100" dirty="0">
                  <a:solidFill>
                    <a:schemeClr val="bg1"/>
                  </a:solidFill>
                  <a:latin typeface="Arial"/>
                  <a:ea typeface="Calibri"/>
                  <a:cs typeface="Calibri"/>
                </a:rPr>
                <a:t>│ </a:t>
              </a:r>
              <a:r>
                <a:rPr lang="en-US" sz="1100" dirty="0">
                  <a:solidFill>
                    <a:schemeClr val="bg1"/>
                  </a:solidFill>
                  <a:latin typeface="+mn-lt"/>
                  <a:ea typeface="Calibri"/>
                  <a:cs typeface="Calibri"/>
                </a:rPr>
                <a:t>Çayirova-Kocaeli,</a:t>
              </a:r>
              <a:br>
                <a:rPr lang="en-US" sz="1100" dirty="0">
                  <a:latin typeface="Arial"/>
                  <a:ea typeface="Calibri" panose="020F0502020204030204" pitchFamily="34" charset="0"/>
                  <a:cs typeface="Calibri" panose="020F0502020204030204" pitchFamily="34" charset="0"/>
                </a:rPr>
              </a:br>
              <a:r>
                <a:rPr lang="en-US" sz="1100" dirty="0">
                  <a:solidFill>
                    <a:schemeClr val="bg1"/>
                  </a:solidFill>
                  <a:latin typeface="+mn-lt"/>
                  <a:ea typeface="Calibri"/>
                  <a:cs typeface="Calibri"/>
                </a:rPr>
                <a:t>Turkey</a:t>
              </a:r>
              <a:r>
                <a:rPr lang="en-US" sz="1100" dirty="0">
                  <a:solidFill>
                    <a:schemeClr val="bg1"/>
                  </a:solidFill>
                  <a:latin typeface="Arial"/>
                  <a:ea typeface="Calibri"/>
                  <a:cs typeface="Calibri"/>
                </a:rPr>
                <a:t> │ </a:t>
              </a:r>
              <a:r>
                <a:rPr lang="en-US" sz="1100" dirty="0">
                  <a:solidFill>
                    <a:schemeClr val="bg1"/>
                  </a:solidFill>
                  <a:latin typeface="+mn-lt"/>
                  <a:ea typeface="Calibri"/>
                  <a:cs typeface="Calibri"/>
                </a:rPr>
                <a:t>Guissano, Italy </a:t>
              </a:r>
              <a:r>
                <a:rPr lang="en-US" sz="1100" dirty="0">
                  <a:solidFill>
                    <a:schemeClr val="bg1"/>
                  </a:solidFill>
                  <a:latin typeface="Arial"/>
                  <a:ea typeface="Calibri"/>
                  <a:cs typeface="Calibri"/>
                </a:rPr>
                <a:t>│ Frankfurt</a:t>
              </a:r>
              <a:r>
                <a:rPr lang="en-US" sz="1100" dirty="0">
                  <a:solidFill>
                    <a:schemeClr val="bg1"/>
                  </a:solidFill>
                  <a:latin typeface="+mn-lt"/>
                  <a:ea typeface="Calibri"/>
                  <a:cs typeface="Calibri"/>
                </a:rPr>
                <a:t>,</a:t>
              </a:r>
              <a:br>
                <a:rPr lang="en-US" sz="1100" dirty="0">
                  <a:latin typeface="+mn-lt"/>
                  <a:ea typeface="Calibri" panose="020F0502020204030204" pitchFamily="34" charset="0"/>
                  <a:cs typeface="Calibri" panose="020F0502020204030204" pitchFamily="34" charset="0"/>
                </a:rPr>
              </a:br>
              <a:r>
                <a:rPr lang="en-US" sz="1100" dirty="0">
                  <a:solidFill>
                    <a:schemeClr val="bg1"/>
                  </a:solidFill>
                  <a:latin typeface="+mn-lt"/>
                  <a:ea typeface="Calibri"/>
                  <a:cs typeface="Calibri"/>
                </a:rPr>
                <a:t>Germany </a:t>
              </a:r>
              <a:r>
                <a:rPr lang="en-US" sz="1100" dirty="0">
                  <a:solidFill>
                    <a:schemeClr val="bg1"/>
                  </a:solidFill>
                  <a:latin typeface="Arial"/>
                  <a:ea typeface="Calibri"/>
                  <a:cs typeface="Calibri"/>
                </a:rPr>
                <a:t>│ </a:t>
              </a:r>
              <a:r>
                <a:rPr lang="en-US" sz="1100" dirty="0">
                  <a:solidFill>
                    <a:schemeClr val="bg1"/>
                  </a:solidFill>
                  <a:latin typeface="+mn-lt"/>
                  <a:ea typeface="Calibri"/>
                  <a:cs typeface="Calibri"/>
                </a:rPr>
                <a:t>Sens, France </a:t>
              </a:r>
              <a:r>
                <a:rPr lang="en-US" sz="1100" dirty="0">
                  <a:solidFill>
                    <a:schemeClr val="bg1"/>
                  </a:solidFill>
                  <a:latin typeface="Arial"/>
                  <a:ea typeface="Calibri"/>
                  <a:cs typeface="Calibri"/>
                </a:rPr>
                <a:t>│</a:t>
              </a:r>
              <a:r>
                <a:rPr lang="en-US" sz="1100" dirty="0">
                  <a:solidFill>
                    <a:schemeClr val="bg1"/>
                  </a:solidFill>
                  <a:latin typeface="Calibri"/>
                  <a:ea typeface="Calibri"/>
                  <a:cs typeface="Calibri"/>
                </a:rPr>
                <a:t> </a:t>
              </a:r>
              <a:r>
                <a:rPr lang="en-US" sz="1100" dirty="0">
                  <a:solidFill>
                    <a:schemeClr val="bg1"/>
                  </a:solidFill>
                  <a:latin typeface="+mn-lt"/>
                  <a:ea typeface="Calibri"/>
                  <a:cs typeface="Calibri"/>
                </a:rPr>
                <a:t>Pune, Ind</a:t>
              </a:r>
              <a:r>
                <a:rPr lang="en-US" sz="1100" dirty="0">
                  <a:solidFill>
                    <a:schemeClr val="bg1"/>
                  </a:solidFill>
                  <a:latin typeface="Calibri"/>
                  <a:ea typeface="Calibri"/>
                  <a:cs typeface="Calibri"/>
                </a:rPr>
                <a:t>ia │</a:t>
              </a:r>
              <a:br>
                <a:rPr lang="en-US" sz="1100" dirty="0">
                  <a:latin typeface="Calibri" panose="020F0502020204030204" pitchFamily="34" charset="0"/>
                  <a:ea typeface="Calibri" panose="020F0502020204030204" pitchFamily="34" charset="0"/>
                  <a:cs typeface="Calibri" panose="020F0502020204030204" pitchFamily="34" charset="0"/>
                </a:rPr>
              </a:br>
              <a:r>
                <a:rPr lang="en-US" sz="1100" dirty="0">
                  <a:solidFill>
                    <a:schemeClr val="bg1"/>
                  </a:solidFill>
                  <a:latin typeface="+mn-lt"/>
                  <a:ea typeface="Calibri"/>
                  <a:cs typeface="Calibri"/>
                </a:rPr>
                <a:t>Shanghai and Pinghu, China</a:t>
              </a:r>
            </a:p>
          </p:txBody>
        </p:sp>
        <p:sp>
          <p:nvSpPr>
            <p:cNvPr id="123" name="Text Box 43">
              <a:extLst>
                <a:ext uri="{FF2B5EF4-FFF2-40B4-BE49-F238E27FC236}">
                  <a16:creationId xmlns:a16="http://schemas.microsoft.com/office/drawing/2014/main" id="{DA4272E9-B12C-32A4-094E-6350A2F67CB4}"/>
                </a:ext>
              </a:extLst>
            </p:cNvPr>
            <p:cNvSpPr txBox="1">
              <a:spLocks noChangeArrowheads="1"/>
            </p:cNvSpPr>
            <p:nvPr>
              <p:custDataLst>
                <p:tags r:id="rId3"/>
              </p:custDataLst>
            </p:nvPr>
          </p:nvSpPr>
          <p:spPr bwMode="auto">
            <a:xfrm>
              <a:off x="8472580" y="4581068"/>
              <a:ext cx="899784"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1pPr>
              <a:lvl2pPr marL="742950" indent="-285750">
                <a:lnSpc>
                  <a:spcPct val="110000"/>
                </a:lnSpc>
                <a:spcAft>
                  <a:spcPct val="50000"/>
                </a:spcAft>
                <a:buClr>
                  <a:srgbClr val="666666"/>
                </a:buClr>
                <a:buFont typeface="Wingdings" charset="2"/>
                <a:buChar char="n"/>
                <a:defRPr sz="2000">
                  <a:solidFill>
                    <a:schemeClr val="tx1"/>
                  </a:solidFill>
                  <a:latin typeface="Arial" charset="0"/>
                  <a:ea typeface="Arial" charset="0"/>
                  <a:cs typeface="Arial" charset="0"/>
                </a:defRPr>
              </a:lvl2pPr>
              <a:lvl3pPr marL="11430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3pPr>
              <a:lvl4pPr marL="16002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4pPr>
              <a:lvl5pPr marL="2057400" indent="-228600">
                <a:lnSpc>
                  <a:spcPct val="110000"/>
                </a:lnSpc>
                <a:spcAft>
                  <a:spcPct val="50000"/>
                </a:spcAft>
                <a:buClr>
                  <a:srgbClr val="666666"/>
                </a:buClr>
                <a:buFont typeface="Arial" charset="0"/>
                <a:buChar char="−"/>
                <a:defRPr sz="2000">
                  <a:solidFill>
                    <a:schemeClr val="tx1"/>
                  </a:solidFill>
                  <a:latin typeface="Arial" charset="0"/>
                  <a:ea typeface="Arial" charset="0"/>
                  <a:cs typeface="Arial" charset="0"/>
                </a:defRPr>
              </a:lvl5pPr>
              <a:lvl6pPr marL="25146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6pPr>
              <a:lvl7pPr marL="29718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7pPr>
              <a:lvl8pPr marL="34290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8pPr>
              <a:lvl9pPr marL="3886200" indent="-228600" eaLnBrk="0" fontAlgn="base" hangingPunct="0">
                <a:lnSpc>
                  <a:spcPct val="110000"/>
                </a:lnSpc>
                <a:spcBef>
                  <a:spcPct val="0"/>
                </a:spcBef>
                <a:spcAft>
                  <a:spcPct val="50000"/>
                </a:spcAft>
                <a:buClr>
                  <a:srgbClr val="666666"/>
                </a:buClr>
                <a:buFont typeface="Arial" charset="0"/>
                <a:buChar char="−"/>
                <a:defRPr sz="2000">
                  <a:solidFill>
                    <a:schemeClr val="tx1"/>
                  </a:solidFill>
                  <a:latin typeface="Arial" charset="0"/>
                  <a:ea typeface="Arial" charset="0"/>
                  <a:cs typeface="Arial" charset="0"/>
                </a:defRPr>
              </a:lvl9pPr>
            </a:lstStyle>
            <a:p>
              <a:pPr>
                <a:lnSpc>
                  <a:spcPct val="100000"/>
                </a:lnSpc>
                <a:spcAft>
                  <a:spcPct val="0"/>
                </a:spcAft>
                <a:buClrTx/>
                <a:buNone/>
                <a:tabLst>
                  <a:tab pos="990600" algn="l"/>
                  <a:tab pos="1257300" algn="l"/>
                </a:tabLst>
              </a:pPr>
              <a:r>
                <a:rPr lang="en-US" sz="1200" b="1" dirty="0">
                  <a:solidFill>
                    <a:schemeClr val="bg1"/>
                  </a:solidFill>
                  <a:latin typeface="+mn-lt"/>
                  <a:cs typeface="Arial"/>
                </a:rPr>
                <a:t>Surface Treatment</a:t>
              </a:r>
              <a:endParaRPr lang="en-US" sz="1200" b="1" dirty="0">
                <a:solidFill>
                  <a:schemeClr val="bg1"/>
                </a:solidFill>
                <a:latin typeface="+mn-lt"/>
              </a:endParaRPr>
            </a:p>
          </p:txBody>
        </p:sp>
      </p:grpSp>
      <p:cxnSp>
        <p:nvCxnSpPr>
          <p:cNvPr id="124" name="Gerader Verbinder 123">
            <a:extLst>
              <a:ext uri="{FF2B5EF4-FFF2-40B4-BE49-F238E27FC236}">
                <a16:creationId xmlns:a16="http://schemas.microsoft.com/office/drawing/2014/main" id="{AF6F88FB-30F8-43C9-21AB-254151F04A64}"/>
              </a:ext>
            </a:extLst>
          </p:cNvPr>
          <p:cNvCxnSpPr>
            <a:cxnSpLocks/>
          </p:cNvCxnSpPr>
          <p:nvPr/>
        </p:nvCxnSpPr>
        <p:spPr>
          <a:xfrm>
            <a:off x="8472264" y="3257686"/>
            <a:ext cx="914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1F7BC96-470D-80A9-982F-77116ECF886C}"/>
              </a:ext>
            </a:extLst>
          </p:cNvPr>
          <p:cNvCxnSpPr>
            <a:cxnSpLocks/>
          </p:cNvCxnSpPr>
          <p:nvPr/>
        </p:nvCxnSpPr>
        <p:spPr>
          <a:xfrm>
            <a:off x="8472264" y="3887530"/>
            <a:ext cx="914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EAD8731C-CE2B-7D4E-E579-4CECF83AEC91}"/>
              </a:ext>
            </a:extLst>
          </p:cNvPr>
          <p:cNvCxnSpPr>
            <a:cxnSpLocks/>
          </p:cNvCxnSpPr>
          <p:nvPr/>
        </p:nvCxnSpPr>
        <p:spPr>
          <a:xfrm>
            <a:off x="8472264" y="4634479"/>
            <a:ext cx="914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7" name="Grafik 1943">
            <a:extLst>
              <a:ext uri="{FF2B5EF4-FFF2-40B4-BE49-F238E27FC236}">
                <a16:creationId xmlns:a16="http://schemas.microsoft.com/office/drawing/2014/main" id="{B74ACEE8-1D50-9B81-EF8D-09E7D7476AD3}"/>
              </a:ext>
            </a:extLst>
          </p:cNvPr>
          <p:cNvSpPr>
            <a:spLocks noChangeAspect="1"/>
          </p:cNvSpPr>
          <p:nvPr/>
        </p:nvSpPr>
        <p:spPr>
          <a:xfrm>
            <a:off x="8465154" y="1116884"/>
            <a:ext cx="441291" cy="467737"/>
          </a:xfrm>
          <a:custGeom>
            <a:avLst/>
            <a:gdLst>
              <a:gd name="connsiteX0" fmla="*/ 271748 w 357568"/>
              <a:gd name="connsiteY0" fmla="*/ 0 h 378999"/>
              <a:gd name="connsiteX1" fmla="*/ 328994 w 357568"/>
              <a:gd name="connsiteY1" fmla="*/ 0 h 378999"/>
              <a:gd name="connsiteX2" fmla="*/ 357569 w 357568"/>
              <a:gd name="connsiteY2" fmla="*/ 379000 h 378999"/>
              <a:gd name="connsiteX3" fmla="*/ 255937 w 357568"/>
              <a:gd name="connsiteY3" fmla="*/ 379000 h 378999"/>
              <a:gd name="connsiteX4" fmla="*/ 255937 w 357568"/>
              <a:gd name="connsiteY4" fmla="*/ 379000 h 378999"/>
              <a:gd name="connsiteX5" fmla="*/ 0 w 357568"/>
              <a:gd name="connsiteY5" fmla="*/ 379000 h 378999"/>
              <a:gd name="connsiteX6" fmla="*/ 0 w 357568"/>
              <a:gd name="connsiteY6" fmla="*/ 253460 h 378999"/>
              <a:gd name="connsiteX7" fmla="*/ 0 w 357568"/>
              <a:gd name="connsiteY7" fmla="*/ 251841 h 378999"/>
              <a:gd name="connsiteX8" fmla="*/ 0 w 357568"/>
              <a:gd name="connsiteY8" fmla="*/ 173260 h 378999"/>
              <a:gd name="connsiteX9" fmla="*/ 77534 w 357568"/>
              <a:gd name="connsiteY9" fmla="*/ 232601 h 378999"/>
              <a:gd name="connsiteX10" fmla="*/ 77534 w 357568"/>
              <a:gd name="connsiteY10" fmla="*/ 173260 h 378999"/>
              <a:gd name="connsiteX11" fmla="*/ 151067 w 357568"/>
              <a:gd name="connsiteY11" fmla="*/ 229457 h 378999"/>
              <a:gd name="connsiteX12" fmla="*/ 151067 w 357568"/>
              <a:gd name="connsiteY12" fmla="*/ 173260 h 378999"/>
              <a:gd name="connsiteX13" fmla="*/ 252889 w 357568"/>
              <a:gd name="connsiteY13" fmla="*/ 251079 h 378999"/>
              <a:gd name="connsiteX14" fmla="*/ 271748 w 357568"/>
              <a:gd name="connsiteY14" fmla="*/ 0 h 378999"/>
              <a:gd name="connsiteX15" fmla="*/ 271748 w 357568"/>
              <a:gd name="connsiteY15" fmla="*/ 0 h 37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568" h="378999">
                <a:moveTo>
                  <a:pt x="271748" y="0"/>
                </a:moveTo>
                <a:lnTo>
                  <a:pt x="328994" y="0"/>
                </a:lnTo>
                <a:lnTo>
                  <a:pt x="357569" y="379000"/>
                </a:lnTo>
                <a:lnTo>
                  <a:pt x="255937" y="379000"/>
                </a:lnTo>
                <a:lnTo>
                  <a:pt x="255937" y="379000"/>
                </a:lnTo>
                <a:lnTo>
                  <a:pt x="0" y="379000"/>
                </a:lnTo>
                <a:lnTo>
                  <a:pt x="0" y="253460"/>
                </a:lnTo>
                <a:lnTo>
                  <a:pt x="0" y="251841"/>
                </a:lnTo>
                <a:lnTo>
                  <a:pt x="0" y="173260"/>
                </a:lnTo>
                <a:lnTo>
                  <a:pt x="77534" y="232601"/>
                </a:lnTo>
                <a:lnTo>
                  <a:pt x="77534" y="173260"/>
                </a:lnTo>
                <a:lnTo>
                  <a:pt x="151067" y="229457"/>
                </a:lnTo>
                <a:lnTo>
                  <a:pt x="151067" y="173260"/>
                </a:lnTo>
                <a:lnTo>
                  <a:pt x="252889" y="251079"/>
                </a:lnTo>
                <a:lnTo>
                  <a:pt x="271748" y="0"/>
                </a:lnTo>
                <a:lnTo>
                  <a:pt x="271748" y="0"/>
                </a:lnTo>
                <a:close/>
              </a:path>
            </a:pathLst>
          </a:custGeom>
          <a:solidFill>
            <a:schemeClr val="bg1"/>
          </a:solidFill>
          <a:ln w="9525" cap="flat">
            <a:noFill/>
            <a:prstDash val="solid"/>
            <a:miter/>
          </a:ln>
        </p:spPr>
        <p:txBody>
          <a:bodyPr rtlCol="0" anchor="ctr"/>
          <a:lstStyle/>
          <a:p>
            <a:endParaRPr lang="de-DE" dirty="0"/>
          </a:p>
        </p:txBody>
      </p:sp>
      <p:sp>
        <p:nvSpPr>
          <p:cNvPr id="128" name="Textplatzhalter 2">
            <a:extLst>
              <a:ext uri="{FF2B5EF4-FFF2-40B4-BE49-F238E27FC236}">
                <a16:creationId xmlns:a16="http://schemas.microsoft.com/office/drawing/2014/main" id="{C2D0A78A-A76D-2858-B6BB-0DA2626FB19A}"/>
              </a:ext>
            </a:extLst>
          </p:cNvPr>
          <p:cNvSpPr txBox="1">
            <a:spLocks/>
          </p:cNvSpPr>
          <p:nvPr/>
        </p:nvSpPr>
        <p:spPr>
          <a:xfrm>
            <a:off x="9012324" y="1384798"/>
            <a:ext cx="2951076" cy="360000"/>
          </a:xfrm>
          <a:prstGeom prst="rect">
            <a:avLst/>
          </a:prstGeom>
        </p:spPr>
        <p:txBody>
          <a:bodyPr vert="horz" lIns="0" tIns="0" rIns="0" bIns="72000" rtlCol="0" anchor="b" anchorCtr="0">
            <a:noAutofit/>
          </a:bodyPr>
          <a:lstStyle>
            <a:lvl1pPr marL="342000" indent="-342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625475" indent="-2682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900000" indent="-27000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166813" indent="-271463"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6688" indent="-269875" algn="l" defTabSz="914400" rtl="0" eaLnBrk="1" latinLnBrk="0" hangingPunct="1">
              <a:lnSpc>
                <a:spcPct val="95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20808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60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186000" indent="0" algn="l" defTabSz="914400" rtl="0" eaLnBrk="1" latinLnBrk="0" hangingPunct="1">
              <a:lnSpc>
                <a:spcPct val="95000"/>
              </a:lnSpc>
              <a:spcBef>
                <a:spcPts val="600"/>
              </a:spcBef>
              <a:buClrTx/>
              <a:buFont typeface="Arial" panose="020B0604020202020204" pitchFamily="34" charset="0"/>
              <a:buNone/>
              <a:defRPr sz="2000" b="0" i="0" kern="1200" baseline="0">
                <a:solidFill>
                  <a:schemeClr val="tx1"/>
                </a:solidFill>
                <a:latin typeface="Arial" panose="020B0604020202020204" pitchFamily="34" charset="0"/>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cs typeface="Arial"/>
              </a:rPr>
              <a:t>More than </a:t>
            </a:r>
            <a:r>
              <a:rPr lang="en-US" sz="3000" b="1" dirty="0">
                <a:solidFill>
                  <a:schemeClr val="bg1"/>
                </a:solidFill>
                <a:cs typeface="Arial"/>
              </a:rPr>
              <a:t>70</a:t>
            </a:r>
            <a:r>
              <a:rPr lang="en-US" sz="1400" b="1" dirty="0">
                <a:solidFill>
                  <a:schemeClr val="bg1"/>
                </a:solidFill>
                <a:cs typeface="Arial"/>
              </a:rPr>
              <a:t> sites</a:t>
            </a:r>
            <a:endParaRPr kumimoji="0" lang="en-US" sz="1400" b="1" i="0" u="none" strike="noStrike" kern="1200" cap="none" spc="0" normalizeH="0" baseline="0" dirty="0">
              <a:ln>
                <a:noFill/>
              </a:ln>
              <a:solidFill>
                <a:schemeClr val="bg1"/>
              </a:solidFill>
              <a:effectLst/>
              <a:uLnTx/>
              <a:uFillTx/>
              <a:cs typeface="Arial"/>
            </a:endParaRPr>
          </a:p>
        </p:txBody>
      </p:sp>
      <p:sp>
        <p:nvSpPr>
          <p:cNvPr id="130" name="Textfeld 129">
            <a:extLst>
              <a:ext uri="{FF2B5EF4-FFF2-40B4-BE49-F238E27FC236}">
                <a16:creationId xmlns:a16="http://schemas.microsoft.com/office/drawing/2014/main" id="{055E8E64-FF1C-5931-132F-92CAD5E6F2E6}"/>
              </a:ext>
            </a:extLst>
          </p:cNvPr>
          <p:cNvSpPr txBox="1"/>
          <p:nvPr/>
        </p:nvSpPr>
        <p:spPr>
          <a:xfrm>
            <a:off x="6842704" y="6476184"/>
            <a:ext cx="1440000" cy="230832"/>
          </a:xfrm>
          <a:prstGeom prst="rect">
            <a:avLst/>
          </a:prstGeom>
          <a:noFill/>
        </p:spPr>
        <p:txBody>
          <a:bodyPr wrap="square">
            <a:spAutoFit/>
          </a:bodyPr>
          <a:lstStyle/>
          <a:p>
            <a:r>
              <a:rPr lang="en-US" sz="900" dirty="0"/>
              <a:t>Updated in July 2024</a:t>
            </a:r>
          </a:p>
        </p:txBody>
      </p:sp>
    </p:spTree>
    <p:extLst>
      <p:ext uri="{BB962C8B-B14F-4D97-AF65-F5344CB8AC3E}">
        <p14:creationId xmlns:p14="http://schemas.microsoft.com/office/powerpoint/2010/main" val="138254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753E5795-F7B6-4CA9-30C3-6B3C4AAC391E}"/>
              </a:ext>
            </a:extLst>
          </p:cNvPr>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t="44" b="44"/>
          <a:stretch/>
        </p:blipFill>
        <p:spPr>
          <a:xfrm>
            <a:off x="0" y="0"/>
            <a:ext cx="12192000" cy="6858000"/>
          </a:xfrm>
        </p:spPr>
      </p:pic>
      <p:sp>
        <p:nvSpPr>
          <p:cNvPr id="5" name="Foliennummernplatzhalter 4">
            <a:extLst>
              <a:ext uri="{FF2B5EF4-FFF2-40B4-BE49-F238E27FC236}">
                <a16:creationId xmlns:a16="http://schemas.microsoft.com/office/drawing/2014/main" id="{5D40EB4D-DC4F-68A1-A996-DEA12F9F4FBD}"/>
              </a:ext>
            </a:extLst>
          </p:cNvPr>
          <p:cNvSpPr>
            <a:spLocks noGrp="1"/>
          </p:cNvSpPr>
          <p:nvPr>
            <p:ph type="sldNum" sz="quarter" idx="12"/>
          </p:nvPr>
        </p:nvSpPr>
        <p:spPr>
          <a:xfrm>
            <a:off x="226800" y="6516000"/>
            <a:ext cx="360000" cy="151200"/>
          </a:xfrm>
        </p:spPr>
        <p:txBody>
          <a:bodyPr/>
          <a:lstStyle/>
          <a:p>
            <a:pPr lvl="0"/>
            <a:fld id="{D7C0CCF7-DF53-4ADB-AAD8-9742C01AD446}" type="slidenum">
              <a:rPr lang="en-US" noProof="0" smtClean="0"/>
              <a:pPr lvl="0"/>
              <a:t>8</a:t>
            </a:fld>
            <a:endParaRPr lang="en-US" noProof="0" dirty="0"/>
          </a:p>
        </p:txBody>
      </p:sp>
      <p:sp>
        <p:nvSpPr>
          <p:cNvPr id="15" name="Titel 14">
            <a:extLst>
              <a:ext uri="{FF2B5EF4-FFF2-40B4-BE49-F238E27FC236}">
                <a16:creationId xmlns:a16="http://schemas.microsoft.com/office/drawing/2014/main" id="{66D5F46D-CE89-2AE0-9C9B-7F0AD84EF10D}"/>
              </a:ext>
            </a:extLst>
          </p:cNvPr>
          <p:cNvSpPr>
            <a:spLocks noGrp="1"/>
          </p:cNvSpPr>
          <p:nvPr>
            <p:ph type="title"/>
          </p:nvPr>
        </p:nvSpPr>
        <p:spPr/>
        <p:txBody>
          <a:bodyPr/>
          <a:lstStyle/>
          <a:p>
            <a:r>
              <a:rPr lang="de-DE" dirty="0" err="1"/>
              <a:t>Creating</a:t>
            </a:r>
            <a:r>
              <a:rPr lang="de-DE" dirty="0"/>
              <a:t> a Future Target Picture</a:t>
            </a:r>
          </a:p>
        </p:txBody>
      </p:sp>
      <p:sp>
        <p:nvSpPr>
          <p:cNvPr id="16" name="Textplatzhalter 15">
            <a:extLst>
              <a:ext uri="{FF2B5EF4-FFF2-40B4-BE49-F238E27FC236}">
                <a16:creationId xmlns:a16="http://schemas.microsoft.com/office/drawing/2014/main" id="{D5F885EB-F590-C4B9-FF5A-FABD0A88A7CD}"/>
              </a:ext>
            </a:extLst>
          </p:cNvPr>
          <p:cNvSpPr>
            <a:spLocks noGrp="1"/>
          </p:cNvSpPr>
          <p:nvPr>
            <p:ph type="body" sz="quarter" idx="13"/>
          </p:nvPr>
        </p:nvSpPr>
        <p:spPr/>
        <p:txBody>
          <a:bodyPr/>
          <a:lstStyle/>
          <a:p>
            <a:r>
              <a:rPr lang="de-DE" dirty="0"/>
              <a:t>03</a:t>
            </a:r>
          </a:p>
        </p:txBody>
      </p:sp>
      <p:sp>
        <p:nvSpPr>
          <p:cNvPr id="17" name="Textplatzhalter 16">
            <a:extLst>
              <a:ext uri="{FF2B5EF4-FFF2-40B4-BE49-F238E27FC236}">
                <a16:creationId xmlns:a16="http://schemas.microsoft.com/office/drawing/2014/main" id="{00E7132E-ABF8-2F0A-6AA8-08C46C7F137D}"/>
              </a:ext>
            </a:extLst>
          </p:cNvPr>
          <p:cNvSpPr>
            <a:spLocks noGrp="1"/>
          </p:cNvSpPr>
          <p:nvPr>
            <p:ph type="body" sz="quarter" idx="16"/>
          </p:nvPr>
        </p:nvSpPr>
        <p:spPr/>
        <p:txBody>
          <a:bodyPr/>
          <a:lstStyle/>
          <a:p>
            <a:endParaRPr lang="de-DE" dirty="0"/>
          </a:p>
        </p:txBody>
      </p:sp>
    </p:spTree>
    <p:extLst>
      <p:ext uri="{BB962C8B-B14F-4D97-AF65-F5344CB8AC3E}">
        <p14:creationId xmlns:p14="http://schemas.microsoft.com/office/powerpoint/2010/main" val="306714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2B049-B556-8B16-7A05-D890B51F25DC}"/>
            </a:ext>
          </a:extLst>
        </p:cNvPr>
        <p:cNvGrpSpPr/>
        <p:nvPr/>
      </p:nvGrpSpPr>
      <p:grpSpPr>
        <a:xfrm>
          <a:off x="0" y="0"/>
          <a:ext cx="0" cy="0"/>
          <a:chOff x="0" y="0"/>
          <a:chExt cx="0" cy="0"/>
        </a:xfrm>
      </p:grpSpPr>
      <p:graphicFrame>
        <p:nvGraphicFramePr>
          <p:cNvPr id="66605" name="Rectangle 45" hidden="1">
            <a:extLst>
              <a:ext uri="{FF2B5EF4-FFF2-40B4-BE49-F238E27FC236}">
                <a16:creationId xmlns:a16="http://schemas.microsoft.com/office/drawing/2014/main" id="{D9E8BA01-8DB3-437D-6982-BC46E6A81D04}"/>
              </a:ext>
            </a:extLst>
          </p:cNvPr>
          <p:cNvGraphicFramePr>
            <a:graphicFrameLocks/>
          </p:cNvGraphicFramePr>
          <p:nvPr>
            <p:custDataLst>
              <p:tags r:id="rId2"/>
            </p:custDataLst>
          </p:nvPr>
        </p:nvGraphicFramePr>
        <p:xfrm>
          <a:off x="1525788" y="1343"/>
          <a:ext cx="158687" cy="1586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66605" name="Rectangle 45" hidden="1">
                        <a:extLst>
                          <a:ext uri="{FF2B5EF4-FFF2-40B4-BE49-F238E27FC236}">
                            <a16:creationId xmlns:a16="http://schemas.microsoft.com/office/drawing/2014/main" id="{39F3C378-3767-5DC6-F1CB-A346C8755568}"/>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5788" y="1343"/>
                        <a:ext cx="158687" cy="1586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hteck 1" hidden="1">
            <a:extLst>
              <a:ext uri="{FF2B5EF4-FFF2-40B4-BE49-F238E27FC236}">
                <a16:creationId xmlns:a16="http://schemas.microsoft.com/office/drawing/2014/main" id="{375EF2BF-177A-EB35-F387-0A62861FD53E}"/>
              </a:ext>
            </a:extLst>
          </p:cNvPr>
          <p:cNvSpPr/>
          <p:nvPr>
            <p:custDataLst>
              <p:tags r:id="rId3"/>
            </p:custDataLst>
          </p:nvPr>
        </p:nvSpPr>
        <p:spPr>
          <a:xfrm>
            <a:off x="3178" y="1343"/>
            <a:ext cx="158687" cy="158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127" rtl="0" eaLnBrk="1" fontAlgn="auto" latinLnBrk="0" hangingPunct="1">
              <a:lnSpc>
                <a:spcPct val="100000"/>
              </a:lnSpc>
              <a:spcBef>
                <a:spcPct val="0"/>
              </a:spcBef>
              <a:spcAft>
                <a:spcPct val="0"/>
              </a:spcAft>
              <a:buClrTx/>
              <a:buSzTx/>
              <a:buFontTx/>
              <a:buNone/>
              <a:tabLst/>
              <a:defRPr/>
            </a:pPr>
            <a:endParaRPr kumimoji="0" lang="nl-BE" sz="28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Inhaltsplatzhalter 4">
            <a:extLst>
              <a:ext uri="{FF2B5EF4-FFF2-40B4-BE49-F238E27FC236}">
                <a16:creationId xmlns:a16="http://schemas.microsoft.com/office/drawing/2014/main" id="{DB611893-1128-57BE-516F-4178F25E8267}"/>
              </a:ext>
            </a:extLst>
          </p:cNvPr>
          <p:cNvSpPr txBox="1">
            <a:spLocks/>
          </p:cNvSpPr>
          <p:nvPr/>
        </p:nvSpPr>
        <p:spPr>
          <a:xfrm>
            <a:off x="685849" y="2447114"/>
            <a:ext cx="2917143" cy="508021"/>
          </a:xfrm>
          <a:prstGeom prst="rect">
            <a:avLst/>
          </a:prstGeom>
        </p:spPr>
        <p:txBody>
          <a:bodyPr/>
          <a:lstStyle>
            <a:lvl1pPr marL="339725" indent="-339725"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1pPr>
            <a:lvl2pPr marL="714375" indent="-357188"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
              <a:defRPr sz="2000" b="0" i="0" kern="1200" baseline="0">
                <a:solidFill>
                  <a:schemeClr val="tx1"/>
                </a:solidFill>
                <a:latin typeface="+mn-lt"/>
                <a:ea typeface="+mn-ea"/>
                <a:cs typeface="+mn-cs"/>
              </a:defRPr>
            </a:lvl2pPr>
            <a:lvl3pPr marL="1076325" indent="-361950" algn="l" defTabSz="89535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3pPr>
            <a:lvl4pPr marL="1438275" indent="-36195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4pPr>
            <a:lvl5pPr marL="1438275" indent="-361950" algn="l" defTabSz="914400" rtl="0" eaLnBrk="1" latinLnBrk="0" hangingPunct="1">
              <a:lnSpc>
                <a:spcPct val="100000"/>
              </a:lnSpc>
              <a:spcBef>
                <a:spcPts val="600"/>
              </a:spcBef>
              <a:spcAft>
                <a:spcPts val="0"/>
              </a:spcAft>
              <a:buClr>
                <a:schemeClr val="accent1"/>
              </a:buClr>
              <a:buSzPct val="100000"/>
              <a:buFont typeface="Wingdings" panose="05000000000000000000" pitchFamily="2" charset="2"/>
              <a:buChar char="n"/>
              <a:defRPr sz="2000" b="0" i="0" kern="1200" baseline="0">
                <a:solidFill>
                  <a:schemeClr val="tx1"/>
                </a:solidFill>
                <a:latin typeface="+mn-lt"/>
                <a:ea typeface="+mn-ea"/>
                <a:cs typeface="+mn-cs"/>
              </a:defRPr>
            </a:lvl5pPr>
            <a:lvl6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defRPr sz="2000" b="0" i="0" kern="1200" baseline="0">
                <a:solidFill>
                  <a:schemeClr val="tx1"/>
                </a:solidFill>
                <a:latin typeface="+mn-lt"/>
                <a:ea typeface="+mn-ea"/>
                <a:cs typeface="+mn-cs"/>
              </a:defRPr>
            </a:lvl6pPr>
            <a:lvl7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defRPr sz="2000" b="0" i="0" kern="1200" baseline="0">
                <a:solidFill>
                  <a:schemeClr val="tx1"/>
                </a:solidFill>
                <a:latin typeface="+mn-lt"/>
                <a:ea typeface="+mn-ea"/>
                <a:cs typeface="+mn-cs"/>
              </a:defRPr>
            </a:lvl7pPr>
            <a:lvl8pPr marL="1438275" indent="-361950" algn="l" defTabSz="914400" rtl="0" eaLnBrk="1" latinLnBrk="0" hangingPunct="1">
              <a:lnSpc>
                <a:spcPct val="100000"/>
              </a:lnSpc>
              <a:spcBef>
                <a:spcPts val="600"/>
              </a:spcBef>
              <a:spcAft>
                <a:spcPts val="0"/>
              </a:spcAft>
              <a:buClr>
                <a:schemeClr val="accent1"/>
              </a:buClr>
              <a:buFont typeface="Wingdings" panose="05000000000000000000" pitchFamily="2" charset="2"/>
              <a:buChar char="n"/>
              <a:tabLst/>
              <a:defRPr sz="2000" b="0" i="0" kern="1200" baseline="0">
                <a:solidFill>
                  <a:schemeClr val="tx1"/>
                </a:solidFill>
                <a:latin typeface="+mn-lt"/>
                <a:ea typeface="+mn-ea"/>
                <a:cs typeface="+mn-cs"/>
              </a:defRPr>
            </a:lvl8pPr>
            <a:lvl9pPr marL="1436688" indent="-361950" algn="l" defTabSz="914400" rtl="0" eaLnBrk="1" latinLnBrk="0" hangingPunct="1">
              <a:lnSpc>
                <a:spcPct val="95000"/>
              </a:lnSpc>
              <a:spcBef>
                <a:spcPts val="600"/>
              </a:spcBef>
              <a:buClr>
                <a:schemeClr val="accent1"/>
              </a:buClr>
              <a:buFont typeface="Wingdings" panose="05000000000000000000" pitchFamily="2" charset="2"/>
              <a:buChar char="n"/>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4A96"/>
              </a:buClr>
              <a:buSzPct val="100000"/>
              <a:buFont typeface="Wingdings" panose="05000000000000000000" pitchFamily="2" charset="2"/>
              <a:buNone/>
              <a:tabLst/>
              <a:defRPr/>
            </a:pPr>
            <a:endParaRPr kumimoji="0" lang="en-GB" sz="2000" b="1" i="0" u="none" strike="noStrike" kern="1200" cap="none" spc="0" normalizeH="0" baseline="0" noProof="0" dirty="0">
              <a:ln>
                <a:noFill/>
              </a:ln>
              <a:solidFill>
                <a:srgbClr val="FFFFFF"/>
              </a:solidFill>
              <a:effectLst/>
              <a:uLnTx/>
              <a:uFillTx/>
              <a:latin typeface="Roboto" panose="02000000000000000000" pitchFamily="2" charset="0"/>
              <a:cs typeface="Arial"/>
            </a:endParaRPr>
          </a:p>
        </p:txBody>
      </p:sp>
      <p:pic>
        <p:nvPicPr>
          <p:cNvPr id="7" name="Grafik 6">
            <a:extLst>
              <a:ext uri="{FF2B5EF4-FFF2-40B4-BE49-F238E27FC236}">
                <a16:creationId xmlns:a16="http://schemas.microsoft.com/office/drawing/2014/main" id="{5429BFC8-1166-5953-4C6E-6077B0CDE111}"/>
              </a:ext>
            </a:extLst>
          </p:cNvPr>
          <p:cNvPicPr>
            <a:picLocks noChangeAspect="1"/>
          </p:cNvPicPr>
          <p:nvPr/>
        </p:nvPicPr>
        <p:blipFill>
          <a:blip r:embed="rId7"/>
          <a:stretch>
            <a:fillRect/>
          </a:stretch>
        </p:blipFill>
        <p:spPr>
          <a:xfrm>
            <a:off x="-19051" y="-285750"/>
            <a:ext cx="12211051" cy="7791450"/>
          </a:xfrm>
          <a:prstGeom prst="rect">
            <a:avLst/>
          </a:prstGeom>
        </p:spPr>
      </p:pic>
      <p:sp>
        <p:nvSpPr>
          <p:cNvPr id="9" name="Textfeld 8">
            <a:extLst>
              <a:ext uri="{FF2B5EF4-FFF2-40B4-BE49-F238E27FC236}">
                <a16:creationId xmlns:a16="http://schemas.microsoft.com/office/drawing/2014/main" id="{E7B0917C-5423-6F4F-2EC6-F80DEF4E49D6}"/>
              </a:ext>
            </a:extLst>
          </p:cNvPr>
          <p:cNvSpPr txBox="1"/>
          <p:nvPr/>
        </p:nvSpPr>
        <p:spPr>
          <a:xfrm>
            <a:off x="1902466" y="398668"/>
            <a:ext cx="8368015" cy="1277273"/>
          </a:xfrm>
          <a:prstGeom prst="rect">
            <a:avLst/>
          </a:prstGeom>
          <a:noFill/>
        </p:spPr>
        <p:txBody>
          <a:bodyPr wrap="square" lIns="0" tIns="0" rIns="0" bIns="0" rtlCol="0">
            <a:spAutoFit/>
          </a:bodyPr>
          <a:lstStyle/>
          <a:p>
            <a:r>
              <a:rPr lang="de-DE" sz="2000" i="1" dirty="0">
                <a:solidFill>
                  <a:schemeClr val="bg1"/>
                </a:solidFill>
              </a:rPr>
              <a:t>Wenn Du ein Schiff bauen willst, dann trommle nicht Männer zusammen, um Holz zu beschaffen, Aufgaben zu vergeben und die Arbeit einzuteilen, sondern lehre sie die Sehnsucht nach dem weiten, endlosen Meer. </a:t>
            </a:r>
          </a:p>
          <a:p>
            <a:pPr algn="just">
              <a:spcBef>
                <a:spcPts val="600"/>
              </a:spcBef>
            </a:pPr>
            <a:r>
              <a:rPr lang="de-DE" i="1" dirty="0">
                <a:solidFill>
                  <a:schemeClr val="bg1"/>
                </a:solidFill>
              </a:rPr>
              <a:t>					Antoine de Saint-Exupéry</a:t>
            </a:r>
          </a:p>
        </p:txBody>
      </p:sp>
      <p:sp>
        <p:nvSpPr>
          <p:cNvPr id="10" name="Foliennummernplatzhalter 9">
            <a:extLst>
              <a:ext uri="{FF2B5EF4-FFF2-40B4-BE49-F238E27FC236}">
                <a16:creationId xmlns:a16="http://schemas.microsoft.com/office/drawing/2014/main" id="{5523E1D1-FCAF-2272-1B7D-4C698413CF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38402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0Xu3KK0SCaRy0Vjb1DGp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IMING" val="|5.6"/>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R5nnRjhTkqP.a4_DakySg"/>
</p:tagLst>
</file>

<file path=ppt/theme/theme1.xml><?xml version="1.0" encoding="utf-8"?>
<a:theme xmlns:a="http://schemas.openxmlformats.org/drawingml/2006/main" name="BASF_Coatings_FolienDesign">
  <a:themeElements>
    <a:clrScheme name="Benutzerdefiniert 5">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258BE22B-8E88-4D26-9CA4-448A139EBC2E}" vid="{B0310E33-C1DD-4789-8762-6B5AF944332D}"/>
    </a:ext>
  </a:extLst>
</a:theme>
</file>

<file path=ppt/theme/theme2.xml><?xml version="1.0" encoding="utf-8"?>
<a:theme xmlns:a="http://schemas.openxmlformats.org/drawingml/2006/main" name="1_BASF_FolienDesign_V10">
  <a:themeElements>
    <a:clrScheme name="Benutzerdefiniert 5">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3" id="{B0B3AA92-247D-406A-B4BD-4D72B5D98588}" vid="{0DF90D03-1D1F-4542-B37A-AA44072C90ED}"/>
    </a:ext>
  </a:extLst>
</a:theme>
</file>

<file path=ppt/theme/theme3.xml><?xml version="1.0" encoding="utf-8"?>
<a:theme xmlns:a="http://schemas.openxmlformats.org/drawingml/2006/main" name="2_BASF_FolienDesign_V10">
  <a:themeElements>
    <a:clrScheme name="Benutzerdefiniert 5">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06530cf4-8573-4c29-a912-bbcdac835909}" enabled="1" method="Standard" siteId="{ecaa386b-c8df-4ce0-ad01-740cbdb5ba55}"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2086</Words>
  <Application>Microsoft Office PowerPoint</Application>
  <PresentationFormat>Breitbild</PresentationFormat>
  <Paragraphs>309</Paragraphs>
  <Slides>31</Slides>
  <Notes>22</Notes>
  <HiddenSlides>0</HiddenSlides>
  <MMClips>1</MMClips>
  <ScaleCrop>false</ScaleCrop>
  <HeadingPairs>
    <vt:vector size="8" baseType="variant">
      <vt:variant>
        <vt:lpstr>Verwendete Schriftarten</vt:lpstr>
      </vt:variant>
      <vt:variant>
        <vt:i4>9</vt:i4>
      </vt:variant>
      <vt:variant>
        <vt:lpstr>Design</vt:lpstr>
      </vt:variant>
      <vt:variant>
        <vt:i4>3</vt:i4>
      </vt:variant>
      <vt:variant>
        <vt:lpstr>Eingebettete OLE-Server</vt:lpstr>
      </vt:variant>
      <vt:variant>
        <vt:i4>2</vt:i4>
      </vt:variant>
      <vt:variant>
        <vt:lpstr>Folientitel</vt:lpstr>
      </vt:variant>
      <vt:variant>
        <vt:i4>31</vt:i4>
      </vt:variant>
    </vt:vector>
  </HeadingPairs>
  <TitlesOfParts>
    <vt:vector size="45" baseType="lpstr">
      <vt:lpstr>Aptos</vt:lpstr>
      <vt:lpstr>Arial</vt:lpstr>
      <vt:lpstr>Calibri</vt:lpstr>
      <vt:lpstr>DM Sans</vt:lpstr>
      <vt:lpstr>Nobel-Bold</vt:lpstr>
      <vt:lpstr>Noto Sans Symbols</vt:lpstr>
      <vt:lpstr>Roboto</vt:lpstr>
      <vt:lpstr>Wingdings</vt:lpstr>
      <vt:lpstr>Wingdings 3</vt:lpstr>
      <vt:lpstr>BASF_Coatings_FolienDesign</vt:lpstr>
      <vt:lpstr>1_BASF_FolienDesign_V10</vt:lpstr>
      <vt:lpstr>2_BASF_FolienDesign_V10</vt:lpstr>
      <vt:lpstr>think-cell Folie</vt:lpstr>
      <vt:lpstr>think-cell Slide</vt:lpstr>
      <vt:lpstr>PowerPoint-Präsentation</vt:lpstr>
      <vt:lpstr>BASF at a glance</vt:lpstr>
      <vt:lpstr>BASF – We create chemistry for a  sustainable future</vt:lpstr>
      <vt:lpstr>BASFs Segmentstruktur</vt:lpstr>
      <vt:lpstr>BASF Coatings at a glance</vt:lpstr>
      <vt:lpstr>A leading surface solution provider with strong focus on automotive</vt:lpstr>
      <vt:lpstr>BASF Coatings in numbers</vt:lpstr>
      <vt:lpstr>Creating a Future Target Picture</vt:lpstr>
      <vt:lpstr>PowerPoint-Präsentation</vt:lpstr>
      <vt:lpstr>PowerPoint-Präsentation</vt:lpstr>
      <vt:lpstr>Start unserer Reise zu einer Zukunftsvision „Let‘s Go Get Lost…in Time and Space!“</vt:lpstr>
      <vt:lpstr>Das Zukunftsbild Nachhaltigkeit setzt vielfach Potenzial im Unternehmen frei</vt:lpstr>
      <vt:lpstr>Kenne die Auswirkungen</vt:lpstr>
      <vt:lpstr>CO₂-Berechnung to go</vt:lpstr>
      <vt:lpstr>CO₂-Berechnung to go</vt:lpstr>
      <vt:lpstr>CO₂-Berechnung to go Tools zur Produkt- &amp; Prozessoptimierung</vt:lpstr>
      <vt:lpstr>PowerPoint-Präsentation</vt:lpstr>
      <vt:lpstr>CO₂-Berechnung to go</vt:lpstr>
      <vt:lpstr>Energie-Organismus</vt:lpstr>
      <vt:lpstr>Vereinfachung</vt:lpstr>
      <vt:lpstr>Materialeffizienz</vt:lpstr>
      <vt:lpstr>Materialeffizienz:  Strukturierte Farben</vt:lpstr>
      <vt:lpstr>Kreisläufe schließen</vt:lpstr>
      <vt:lpstr>In Service umdenken</vt:lpstr>
      <vt:lpstr>Nachhaltigkeits-Zertifizierung</vt:lpstr>
      <vt:lpstr>Nachhaltigkeits-Zertifizierung Digitales Tool zur Bewertung &amp; Optimierung</vt:lpstr>
      <vt:lpstr>PowerPoint-Präsentation</vt:lpstr>
      <vt:lpstr>Eine neue Welt</vt:lpstr>
      <vt:lpstr>Niedrigenergie-Geschwindigkeit Bionische Oberflächenstrukturen</vt:lpstr>
      <vt:lpstr>Digitale Kampagne “Future Hunt” (“Schnitzeljagd”) weckt  den Jagd- und Sammeltrieb bei Kolleginnen &amp; Kollegen… </vt:lpstr>
      <vt:lpstr>PowerPoint-Präsentation</vt:lpstr>
    </vt:vector>
  </TitlesOfParts>
  <Company>BA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harina.fechtner@basf.com</dc:creator>
  <cp:lastModifiedBy>markus.piepenbrink@basf.com</cp:lastModifiedBy>
  <cp:revision>31</cp:revision>
  <dcterms:created xsi:type="dcterms:W3CDTF">2025-05-22T12:13:08Z</dcterms:created>
  <dcterms:modified xsi:type="dcterms:W3CDTF">2025-06-23T20:16:29Z</dcterms:modified>
</cp:coreProperties>
</file>